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4"/>
  </p:sldMasterIdLst>
  <p:notesMasterIdLst>
    <p:notesMasterId r:id="rId11"/>
  </p:notesMasterIdLst>
  <p:handoutMasterIdLst>
    <p:handoutMasterId r:id="rId12"/>
  </p:handoutMasterIdLst>
  <p:sldIdLst>
    <p:sldId id="7324" r:id="rId5"/>
    <p:sldId id="7334" r:id="rId6"/>
    <p:sldId id="7343" r:id="rId7"/>
    <p:sldId id="7373" r:id="rId8"/>
    <p:sldId id="7374" r:id="rId9"/>
    <p:sldId id="330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A15BC3F-A255-44D6-95EA-10399B657C0C}">
          <p14:sldIdLst>
            <p14:sldId id="7324"/>
            <p14:sldId id="7334"/>
            <p14:sldId id="7343"/>
            <p14:sldId id="7373"/>
            <p14:sldId id="7374"/>
            <p14:sldId id="3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9228"/>
    <a:srgbClr val="575756"/>
    <a:srgbClr val="D0D0D0"/>
    <a:srgbClr val="8094AF"/>
    <a:srgbClr val="BBD03A"/>
    <a:srgbClr val="0D3174"/>
    <a:srgbClr val="7F7F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3C110A-93D5-4197-A0D7-D54D1935074D}" v="3" dt="2023-04-20T18:08:01.9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1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766265816166474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J15/16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delete val="1"/>
            <c:extLst/>
          </c:dLbls>
          <c:cat>
            <c:numRef>
              <c:f>Tabelle1!$A$2</c:f>
              <c:numCache>
                <c:formatCode>General</c:formatCode>
                <c:ptCount val="1"/>
              </c:numCache>
            </c:numRef>
          </c:cat>
          <c:val>
            <c:numRef>
              <c:f>Tabelle1!$B$2</c:f>
              <c:numCache>
                <c:formatCode>#,##0</c:formatCode>
                <c:ptCount val="1"/>
                <c:pt idx="0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24-4636-960E-F1EB92F72EC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J21/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Tabelle1!$A$2</c:f>
              <c:numCache>
                <c:formatCode>General</c:formatCode>
                <c:ptCount val="1"/>
              </c:numCache>
            </c:numRef>
          </c:cat>
          <c:val>
            <c:numRef>
              <c:f>Tabelle1!$C$2</c:f>
              <c:numCache>
                <c:formatCode>General</c:formatCode>
                <c:ptCount val="1"/>
                <c:pt idx="0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24-4636-960E-F1EB92F72EC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20097016"/>
        <c:axId val="1620100624"/>
      </c:barChart>
      <c:catAx>
        <c:axId val="1620097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20100624"/>
        <c:crosses val="autoZero"/>
        <c:auto val="1"/>
        <c:lblAlgn val="ctr"/>
        <c:lblOffset val="100"/>
        <c:noMultiLvlLbl val="0"/>
      </c:catAx>
      <c:valAx>
        <c:axId val="162010062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rgbClr val="FFFFFF"/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1620097016"/>
        <c:crosses val="autoZero"/>
        <c:crossBetween val="between"/>
      </c:valAx>
      <c:spPr>
        <a:noFill/>
        <a:ln>
          <a:solidFill>
            <a:srgbClr val="FFFFFF"/>
          </a:solidFill>
        </a:ln>
        <a:effectLst/>
      </c:spPr>
    </c:plotArea>
    <c:legend>
      <c:legendPos val="b"/>
      <c:layout>
        <c:manualLayout>
          <c:xMode val="edge"/>
          <c:yMode val="edge"/>
          <c:x val="0"/>
          <c:y val="0.81132648057240075"/>
          <c:w val="1"/>
          <c:h val="0.130267940851138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  <a:round/>
      <a:headEnd type="none" w="med" len="med"/>
      <a:tailEnd type="none" w="med" len="med"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r.›</a:t>
            </a:fld>
            <a:endParaRPr lang="de-DE" sz="1000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Nr.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IST Stundensatzveränderung:</a:t>
            </a:r>
          </a:p>
          <a:p>
            <a:endParaRPr lang="de-DE"/>
          </a:p>
          <a:p>
            <a:r>
              <a:rPr lang="de-DE"/>
              <a:t>GJ15/16:	190,88€/h</a:t>
            </a:r>
          </a:p>
          <a:p>
            <a:r>
              <a:rPr lang="de-DE"/>
              <a:t>GJ21/22:	130,32€/h</a:t>
            </a:r>
          </a:p>
          <a:p>
            <a:endParaRPr lang="de-DE"/>
          </a:p>
          <a:p>
            <a:endParaRPr lang="de-DE"/>
          </a:p>
          <a:p>
            <a:r>
              <a:rPr lang="de-DE"/>
              <a:t>Ermittlung Rohmaterialmenge:</a:t>
            </a:r>
          </a:p>
          <a:p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Verarbeitete Menge Rohmaterial: ZPPPMAT001 alle MatNr 1108 exportiert, anschließend CV04n Zeichnungskopf ausgelesen, wo kein Gewicht im Materialstammt enthalten war, Dann Mittelwert pro Materialnummer x die Anzahl der FAUF´s = Ø Gewicht eines Teils 7,61kg,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755497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hyperlink" Target="http://www.trumpf.com/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hyperlink" Target="http://www.trumpf.com/" TargetMode="Externa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hyperlink" Target="http://www.trumpf.com/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3F181C8-B255-4F7E-9059-497902FF962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172201 h 6858000"/>
              <a:gd name="connsiteX5" fmla="*/ 5400000 w 12192000"/>
              <a:gd name="connsiteY5" fmla="*/ 6172201 h 6858000"/>
              <a:gd name="connsiteX6" fmla="*/ 5400000 w 12192000"/>
              <a:gd name="connsiteY6" fmla="*/ 3076575 h 6858000"/>
              <a:gd name="connsiteX7" fmla="*/ 0 w 12192000"/>
              <a:gd name="connsiteY7" fmla="*/ 3076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172201"/>
                </a:lnTo>
                <a:lnTo>
                  <a:pt x="5400000" y="6172201"/>
                </a:lnTo>
                <a:lnTo>
                  <a:pt x="5400000" y="3076575"/>
                </a:lnTo>
                <a:lnTo>
                  <a:pt x="0" y="3076575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51131"/>
            <a:ext cx="178482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4297496"/>
            <a:ext cx="4776788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416548" y="5619956"/>
            <a:ext cx="472198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793118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503237" y="3168636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8BFEC520-D42B-47D8-AB4B-C9FAE3D8AE56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E4AFDA7-75EF-4613-A184-815FC9F1A475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5028813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05A9A9DD-81D8-4A17-A9F9-47B02F25907A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476834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95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3999" y="333375"/>
            <a:ext cx="5664200" cy="43589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378228"/>
            <a:ext cx="5681809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482616"/>
            <a:ext cx="5682300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1865390"/>
            <a:ext cx="5664935" cy="1411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03523" y="4016118"/>
            <a:ext cx="5664935" cy="1762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5E52781-09D3-4E47-B6B4-5A34F69E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992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8441FF80-2419-4C84-8F6C-13192E1A6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99216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47E42470-D049-41AB-8A43-A2E0B46A97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4023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51D87E7-D9F0-49BA-87F3-201F4AF3555F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F5278A0-69C0-404C-92B8-95954A87BD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85914" y="802853"/>
            <a:ext cx="5681809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13516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62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03938" y="63992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84661" y="6399216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90474" y="64023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75201BF-A1E7-4EDD-9CED-6099F17A172E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2B894C8-F58F-4291-897B-A55FFFD2F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3999" y="333375"/>
            <a:ext cx="5664200" cy="43589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C9528097-F9E0-4F66-A784-43A007977ED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378228"/>
            <a:ext cx="5681809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1C9B3D6C-6404-4900-903A-D116B2CACD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482616"/>
            <a:ext cx="5682300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E98D08E-C20A-4EB1-AFF0-07BD6E5C53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1865390"/>
            <a:ext cx="5664935" cy="1411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AC1FED0-CDB1-43C3-83B1-687B508A23D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103523" y="4016118"/>
            <a:ext cx="5664935" cy="1762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7DE4A5B0-F04C-42A8-B34A-ECA66E93A3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85914" y="802853"/>
            <a:ext cx="5681809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1777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10F0F952-2419-4A15-AC77-813AAA7211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174"/>
            <a:ext cx="6096000" cy="6854821"/>
          </a:xfrm>
          <a:custGeom>
            <a:avLst/>
            <a:gdLst>
              <a:gd name="connsiteX0" fmla="*/ 5372099 w 6096000"/>
              <a:gd name="connsiteY0" fmla="*/ 6128205 h 6854821"/>
              <a:gd name="connsiteX1" fmla="*/ 5372099 w 6096000"/>
              <a:gd name="connsiteY1" fmla="*/ 6660697 h 6854821"/>
              <a:gd name="connsiteX2" fmla="*/ 5904591 w 6096000"/>
              <a:gd name="connsiteY2" fmla="*/ 6660697 h 6854821"/>
              <a:gd name="connsiteX3" fmla="*/ 5904591 w 6096000"/>
              <a:gd name="connsiteY3" fmla="*/ 6128205 h 6854821"/>
              <a:gd name="connsiteX4" fmla="*/ 0 w 6096000"/>
              <a:gd name="connsiteY4" fmla="*/ 0 h 6854821"/>
              <a:gd name="connsiteX5" fmla="*/ 6096000 w 6096000"/>
              <a:gd name="connsiteY5" fmla="*/ 0 h 6854821"/>
              <a:gd name="connsiteX6" fmla="*/ 6096000 w 6096000"/>
              <a:gd name="connsiteY6" fmla="*/ 6854821 h 6854821"/>
              <a:gd name="connsiteX7" fmla="*/ 0 w 6096000"/>
              <a:gd name="connsiteY7" fmla="*/ 6854821 h 685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4821">
                <a:moveTo>
                  <a:pt x="5372099" y="6128205"/>
                </a:moveTo>
                <a:lnTo>
                  <a:pt x="5372099" y="6660697"/>
                </a:lnTo>
                <a:lnTo>
                  <a:pt x="5904591" y="6660697"/>
                </a:lnTo>
                <a:lnTo>
                  <a:pt x="5904591" y="6128205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4821"/>
                </a:lnTo>
                <a:lnTo>
                  <a:pt x="0" y="685482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514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8805" y="13384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28805" y="36609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419597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0624" y="1934962"/>
            <a:ext cx="5148262" cy="149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5816" y="4286249"/>
            <a:ext cx="5148262" cy="160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3996187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829F20E-DE47-4FDB-9B1A-C0B341FD08E6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8D5F6A4-0372-43CB-9E55-86B90FB200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315" y="802853"/>
            <a:ext cx="5140886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86530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07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FA2D4EB9-19BA-4E0D-AE78-FFC6C11243F4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5EC19740-1A73-46B1-A268-0244F3EED08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8805" y="13384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FC153D1-3495-4C04-8820-5C2E01F2301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28805" y="36609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F8F73D1-76AF-4234-BEF0-05B3CBCD56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419597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E28FED90-7092-4504-B28A-53E8B7D9CE9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0624" y="1934962"/>
            <a:ext cx="5148262" cy="149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F2C79B53-C131-48B2-9587-5BB682111B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5816" y="4286249"/>
            <a:ext cx="5148262" cy="160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3AA42055-C1CF-4A99-9A9F-4C05334359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315" y="802853"/>
            <a:ext cx="5140886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818319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228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09698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09699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8158" y="333376"/>
            <a:ext cx="7901402" cy="461325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698" y="205808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27462" y="429929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908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908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940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2FD6BCE0-8D57-4164-8B9A-3CF88061FB0C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9134A3C-35B8-4F42-981D-9B36A1B9E6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950" y="831428"/>
            <a:ext cx="791861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9353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88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27463" y="368990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950" y="333375"/>
            <a:ext cx="7918610" cy="49805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27462" y="205808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/>
              <a:t> Zweite Ebene I 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Third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827463" y="4251671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/>
              <a:t> Zweite Ebene I 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Third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29EA9BA-12B1-41E5-BB55-6CDC51B393B7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3528DD15-ACA4-44FC-888A-5C7C12A371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950" y="831428"/>
            <a:ext cx="791861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76903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A865AB-1893-4A5F-8F75-A449F29E8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559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A865AB-1893-4A5F-8F75-A449F29E8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ED435E36-27B9-412A-B19D-8E5E92512496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1" name="Bildplatzhalter 31">
            <a:extLst>
              <a:ext uri="{FF2B5EF4-FFF2-40B4-BE49-F238E27FC236}">
                <a16:creationId xmlns:a16="http://schemas.microsoft.com/office/drawing/2014/main" id="{05BE5A14-57C4-E144-8C66-19278E73576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9049" y="6102804"/>
            <a:ext cx="532492" cy="532492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Third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 I 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Dritte Ebene I Third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564EFE6-CE01-4D19-AB57-007BD3AF0A55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98158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362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85AD2043-5BC3-4CBD-9AD1-AAE34C5C0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5"/>
            <a:ext cx="7853362" cy="4598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53362" cy="31825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37838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5946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01998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2421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 I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B5510EF7-4CDF-4B0B-917A-0A10F504F078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621941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Media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651D45B-A5A1-E043-99A4-33380E7717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D78FF311-4E2D-4497-A253-2D10E5474D7C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7015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ild </a:t>
            </a:r>
            <a:r>
              <a:rPr lang="en-US" err="1"/>
              <a:t>hinzufügen</a:t>
            </a:r>
            <a:r>
              <a:rPr lang="en-US"/>
              <a:t> I Add image by clicking icon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668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1780012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5064345"/>
            <a:ext cx="10571163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743649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6C37A555-E368-724C-9923-DD5CC5C504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5665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Bild hinzufügen I Add </a:t>
            </a:r>
            <a:r>
              <a:rPr lang="de-DE" err="1"/>
              <a:t>image</a:t>
            </a:r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7D952D44-ED50-794D-BA2A-1888F1C497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894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834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722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BF36DFCC-6393-49A0-9AB0-C00EE787365E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257608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73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FBD7425-3D57-704A-8AD3-0D8C20BDB4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E581F06-29AA-4AEF-9D69-F8ACB22759C2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5548733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45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FBD7425-3D57-704A-8AD3-0D8C20BDB4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006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06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I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06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020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497A8DE-860A-4573-88DC-8D5F4D32F55B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3198635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7130592-A4C7-4D99-BE68-EA60CD194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52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7130592-A4C7-4D99-BE68-EA60CD194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78164E5D-7AF6-3348-ACB4-4F8B4EAA5286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  <a:cs typeface="Segoe UI" panose="020B0502040204020203" pitchFamily="34" charset="0"/>
              </a:rPr>
              <a:t>Master </a:t>
            </a:r>
            <a:r>
              <a:rPr lang="de-DE" sz="1200" err="1">
                <a:latin typeface="+mj-lt"/>
                <a:cs typeface="Segoe UI" panose="020B0502040204020203" pitchFamily="34" charset="0"/>
              </a:rPr>
              <a:t>text</a:t>
            </a:r>
            <a:r>
              <a:rPr lang="de-DE" sz="1200">
                <a:latin typeface="+mj-lt"/>
                <a:cs typeface="Segoe UI" panose="020B0502040204020203" pitchFamily="34" charset="0"/>
              </a:rPr>
              <a:t> </a:t>
            </a:r>
            <a:r>
              <a:rPr lang="de-DE" sz="1200" err="1">
                <a:latin typeface="+mj-lt"/>
                <a:cs typeface="Segoe UI" panose="020B0502040204020203" pitchFamily="34" charset="0"/>
              </a:rPr>
              <a:t>format</a:t>
            </a:r>
            <a:endParaRPr lang="de-DE" sz="12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35509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AC6B211D-DE63-450A-B229-340AEB5E55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3617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0008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94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728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08250F3-D8F5-4188-913C-39D2CB97475B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3364159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80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4A258DC9-9A45-485B-A019-93A84BE353C3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583410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369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endParaRPr lang="de-DE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endParaRPr lang="de-DE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3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8DDCAFC4-F697-4FE1-8335-245661A4F99F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FC8822-77D7-4922-9FBA-0D56B6286800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9543399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617421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CD3FE672-C36D-4759-8ADD-079756E82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52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CD3FE672-C36D-4759-8ADD-079756E82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8">
            <a:extLst>
              <a:ext uri="{FF2B5EF4-FFF2-40B4-BE49-F238E27FC236}">
                <a16:creationId xmlns:a16="http://schemas.microsoft.com/office/drawing/2014/main" id="{D456E720-0D41-465C-B9F3-3BEA8BC60A69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1673301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12" name="Oval 19">
            <a:extLst>
              <a:ext uri="{FF2B5EF4-FFF2-40B4-BE49-F238E27FC236}">
                <a16:creationId xmlns:a16="http://schemas.microsoft.com/office/drawing/2014/main" id="{02F84A11-C680-4559-92C9-C4DADC7443B6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2651104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D1BE7CC5-C842-427F-A3DF-0DD439A72A72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3628907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4" name="Oval 21">
            <a:extLst>
              <a:ext uri="{FF2B5EF4-FFF2-40B4-BE49-F238E27FC236}">
                <a16:creationId xmlns:a16="http://schemas.microsoft.com/office/drawing/2014/main" id="{516832BC-5EEF-4FA6-B62E-80067A4D3B34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4606709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250CB09-D9AB-4DB2-9A31-BC55938C0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32549" y="1869851"/>
            <a:ext cx="10148887" cy="603927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3C6D208-16FF-F847-9C15-66E39DB973CF}"/>
              </a:ext>
            </a:extLst>
          </p:cNvPr>
          <p:cNvCxnSpPr>
            <a:cxnSpLocks/>
          </p:cNvCxnSpPr>
          <p:nvPr userDrawn="1"/>
        </p:nvCxnSpPr>
        <p:spPr>
          <a:xfrm>
            <a:off x="515938" y="24775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0A94B920-4C7D-F04F-8ED4-B99A92E9B63D}"/>
              </a:ext>
            </a:extLst>
          </p:cNvPr>
          <p:cNvCxnSpPr>
            <a:cxnSpLocks/>
          </p:cNvCxnSpPr>
          <p:nvPr userDrawn="1"/>
        </p:nvCxnSpPr>
        <p:spPr>
          <a:xfrm>
            <a:off x="515938" y="34681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225FC18E-B6D3-2A4A-B3BD-9ED73A401E01}"/>
              </a:ext>
            </a:extLst>
          </p:cNvPr>
          <p:cNvCxnSpPr>
            <a:cxnSpLocks/>
          </p:cNvCxnSpPr>
          <p:nvPr userDrawn="1"/>
        </p:nvCxnSpPr>
        <p:spPr>
          <a:xfrm>
            <a:off x="515938" y="44587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47A8053B-CEA0-2241-95F2-96A0D338FD1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32549" y="2850926"/>
            <a:ext cx="10148887" cy="627060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90B10DA-B978-BB43-BFBA-3F0D30174C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32549" y="3832002"/>
            <a:ext cx="10148887" cy="633862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5FA39501-E190-1440-B4D9-DA8B5D17C5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32549" y="4813077"/>
            <a:ext cx="10148887" cy="714144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D9B738F-77E8-E840-A281-42E14F72E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1379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A776F20-1502-9C4D-A2A8-38718A92D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AC73BABB-4B95-4888-B24A-C5174F67C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0A234621-2F78-4F92-9D2A-8657AB0F37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46086EC7-AF14-48F4-8E03-CA6129710C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2E72EE6-0233-4C1F-8A74-97950B3B96CF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049629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4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pPr lvl="0" algn="ctr"/>
            <a:endParaRPr lang="en-US"/>
          </a:p>
          <a:p>
            <a:pPr lvl="0" algn="ctr"/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340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02173"/>
            <a:ext cx="19351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421367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CC2CFEA-7510-4234-9E69-0D47C2446AB0}" type="datetime1">
              <a:rPr lang="de-DE"/>
              <a:pPr/>
              <a:t>20.04.2023</a:t>
            </a:fld>
            <a:endParaRPr lang="de-DE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-Mailadress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9951D1C-41C1-4A14-B909-58F37F9420E8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B5961B7A-C513-464D-B932-3CA2450ACF6B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F01AA708-F368-4EB0-ADF2-8C63243BF6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323009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2EE00C-A7F5-4545-8188-9DD1CBFD8DC6}" type="datetime1">
              <a:rPr lang="de-DE"/>
              <a:pPr/>
              <a:t>20.04.2023</a:t>
            </a:fld>
            <a:endParaRPr lang="de-DE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2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200" b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2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Phone </a:t>
            </a:r>
            <a:r>
              <a:rPr lang="de-DE" err="1"/>
              <a:t>number</a:t>
            </a:r>
            <a:endParaRPr lang="de-DE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E-mail</a:t>
            </a:r>
            <a:r>
              <a:rPr lang="de-DE"/>
              <a:t> </a:t>
            </a:r>
            <a:r>
              <a:rPr lang="de-DE" err="1"/>
              <a:t>address</a:t>
            </a:r>
            <a:endParaRPr lang="de-DE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621EF4D-0771-4F49-AB73-A397AB93F78A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42A3D89-BD99-4048-8459-10A5D65A6094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F379F57-479A-41E5-BDAD-7B82B8252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6917836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5AB8D3-879C-4A4F-950C-90B94A02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266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5AB8D3-879C-4A4F-950C-90B94A02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5F6AC04-030C-4BCC-A3A7-AF1039A13B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1DEA8D2-FDD7-4795-B21E-9915A184E9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F99E2F4-A647-42B3-A69E-350292FFE0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381979"/>
            <a:ext cx="4619412" cy="26733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06370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3650039"/>
            <a:ext cx="3611394" cy="657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6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893095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088167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283239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478311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-Mailadresse</a:t>
            </a:r>
          </a:p>
        </p:txBody>
      </p:sp>
    </p:spTree>
    <p:extLst>
      <p:ext uri="{BB962C8B-B14F-4D97-AF65-F5344CB8AC3E}">
        <p14:creationId xmlns:p14="http://schemas.microsoft.com/office/powerpoint/2010/main" val="1886239759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bild ganzseit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9469B77-4928-4FF2-8529-F45439CA0C4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590058 w 12192000"/>
              <a:gd name="connsiteY0" fmla="*/ 5814134 h 6858000"/>
              <a:gd name="connsiteX1" fmla="*/ 9590058 w 12192000"/>
              <a:gd name="connsiteY1" fmla="*/ 6604274 h 6858000"/>
              <a:gd name="connsiteX2" fmla="*/ 11936569 w 12192000"/>
              <a:gd name="connsiteY2" fmla="*/ 6604274 h 6858000"/>
              <a:gd name="connsiteX3" fmla="*/ 11936569 w 12192000"/>
              <a:gd name="connsiteY3" fmla="*/ 581413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590058" y="5814134"/>
                </a:moveTo>
                <a:lnTo>
                  <a:pt x="9590058" y="6604274"/>
                </a:lnTo>
                <a:lnTo>
                  <a:pt x="11936569" y="6604274"/>
                </a:lnTo>
                <a:lnTo>
                  <a:pt x="11936569" y="581413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77363"/>
            <a:ext cx="487521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708E70-C117-45C9-A543-69237EA4A5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90058" y="5814134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9477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2061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1400" b="0" dirty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</a:t>
            </a:r>
            <a:r>
              <a:rPr lang="en-US"/>
              <a:t>Add image by clicking icon</a:t>
            </a:r>
          </a:p>
          <a:p>
            <a:pPr lvl="0"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8482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verline</a:t>
            </a:r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0695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0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 I 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13CB332E-BBCB-48A0-9BB4-8D3541D6C39B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A9C2964-0719-47E8-B997-EB6B1C4FE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57353778-6374-4EA7-B04D-325A62A573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048056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09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B82A4D46-B04A-A54F-A04D-B0F85C6D0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844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DA7FF69-A313-4F2A-9ACF-B2708096E846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389296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24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6132AF8-E6E5-4F83-A188-B582FA4CEA31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594797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 - Voxe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685BFB-D671-4679-B5D3-8FD43F8B2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298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685BFB-D671-4679-B5D3-8FD43F8B2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37" y="301625"/>
            <a:ext cx="1069675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0788E740-D689-461B-AB02-1F21EF38D7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0538" y="869528"/>
            <a:ext cx="10696751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44FA6EF9-1E39-4805-993E-741144B3A1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E7D1CE9B-9F3B-45F1-A4A5-E9E96C9D4F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E5EFCC90-CE63-48AF-A0FF-289C0EAB44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8004286B-6BD6-47E5-947C-C03EF86DC84F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645834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einspaltig - Voxe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685BFB-D671-4679-B5D3-8FD43F8B2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14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685BFB-D671-4679-B5D3-8FD43F8B2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D1D721CD-D314-4FC2-92E6-00D32E4C2B6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>
              <a:solidFill>
                <a:schemeClr val="bg1"/>
              </a:solidFill>
            </a:endParaRP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37" y="301625"/>
            <a:ext cx="1069675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err="1"/>
              <a:t>no</a:t>
            </a:r>
            <a:endParaRPr lang="de-DE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0788E740-D689-461B-AB02-1F21EF38D7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0538" y="869528"/>
            <a:ext cx="10696751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bg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</a:t>
            </a:r>
            <a:endParaRPr lang="de-DE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C8CD4A-2062-4B66-820D-DCB121B96D77}"/>
              </a:ext>
            </a:extLst>
          </p:cNvPr>
          <p:cNvGrpSpPr/>
          <p:nvPr userDrawn="1"/>
        </p:nvGrpSpPr>
        <p:grpSpPr>
          <a:xfrm>
            <a:off x="11483199" y="6155690"/>
            <a:ext cx="491016" cy="491016"/>
            <a:chOff x="11143231" y="5812561"/>
            <a:chExt cx="793338" cy="793338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9B68A89-20A9-4C7B-AE8D-DF07162AF936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6C20FC07-8762-4FAF-B834-1F9942ED21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1743C64A-7DAA-4CB0-840E-8DC33B54AC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/>
              <a:pPr/>
              <a:t>‹Nr.›</a:t>
            </a:fld>
            <a:r>
              <a:rPr lang="de-DE"/>
              <a:t>  </a:t>
            </a:r>
            <a:r>
              <a:rPr lang="de-DE" b="0"/>
              <a:t>|</a:t>
            </a:r>
            <a:endParaRPr lang="de-DE" sz="900" b="0"/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C7D39358-BF92-4B32-839F-D10898559C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8C3CA609-D3D2-4EDB-8902-9B5570BE9E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E8A64FFD-AF22-46ED-BA3E-85A78D4AACAA}" type="datetime1">
              <a:rPr lang="de-DE"/>
              <a:pPr/>
              <a:t>20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70721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139334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353" imgH="353" progId="TCLayout.ActiveDocument.1">
                  <p:embed/>
                </p:oleObj>
              </mc:Choice>
              <mc:Fallback>
                <p:oleObj name="think-cell Folie" r:id="rId37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408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 I Edit </a:t>
            </a:r>
            <a:r>
              <a:rPr lang="de-DE" err="1"/>
              <a:t>master</a:t>
            </a:r>
            <a:r>
              <a:rPr lang="de-DE"/>
              <a:t> title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262849"/>
            <a:ext cx="11160125" cy="4722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  <a:endParaRPr lang="de-DE" b="0" i="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52744B0-1041-4D97-8952-1A05313A3095}" type="datetime1">
              <a:rPr lang="de-DE"/>
              <a:pPr/>
              <a:t>20.04.2023</a:t>
            </a:fld>
            <a:endParaRPr lang="de-DE"/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239DDAB-314C-9C40-96CC-A765D274E23F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834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718" r:id="rId7"/>
    <p:sldLayoutId id="2147483719" r:id="rId8"/>
    <p:sldLayoutId id="2147483721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22" r:id="rId30"/>
    <p:sldLayoutId id="2147483723" r:id="rId31"/>
    <p:sldLayoutId id="2147483717" r:id="rId32"/>
    <p:sldLayoutId id="2147483724" r:id="rId33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4" pos="7537" userDrawn="1">
          <p15:clr>
            <a:srgbClr val="F26B43"/>
          </p15:clr>
        </p15:guide>
        <p15:guide id="7" orient="horz" pos="210" userDrawn="1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618" userDrawn="1">
          <p15:clr>
            <a:srgbClr val="F26B43"/>
          </p15:clr>
        </p15:guide>
        <p15:guide id="12" orient="horz" pos="377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eg"/><Relationship Id="rId5" Type="http://schemas.microsoft.com/office/2007/relationships/hdphoto" Target="../media/hdphoto2.wdp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38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2A281DE5-9E51-6DBA-A1E6-23839736766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25191" b="25191"/>
          <a:stretch>
            <a:fillRect/>
          </a:stretch>
        </p:blipFill>
        <p:spPr>
          <a:xfrm>
            <a:off x="0" y="0"/>
            <a:ext cx="12192000" cy="4537494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66CDB286-2005-2172-C2A5-F5072E6E20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4817980"/>
            <a:ext cx="2059767" cy="215444"/>
          </a:xfrm>
        </p:spPr>
        <p:txBody>
          <a:bodyPr/>
          <a:lstStyle/>
          <a:p>
            <a:r>
              <a:rPr lang="de-DE" dirty="0"/>
              <a:t>Oliver Türk I TWH300to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EA5813-EFB1-63B5-D98C-8D4D5EBCCA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5064345"/>
            <a:ext cx="10571163" cy="788045"/>
          </a:xfrm>
        </p:spPr>
        <p:txBody>
          <a:bodyPr/>
          <a:lstStyle/>
          <a:p>
            <a:r>
              <a:rPr lang="de-DE">
                <a:cs typeface="Arial"/>
              </a:rPr>
              <a:t>Zerspanungszentrum TWH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E2B684-E30F-3CF9-A667-C882E9AFA6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7" y="6057191"/>
            <a:ext cx="4782950" cy="21544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3DE6068-BAAD-9A31-6C66-3009A52FFAD1}"/>
              </a:ext>
            </a:extLst>
          </p:cNvPr>
          <p:cNvSpPr txBox="1">
            <a:spLocks/>
          </p:cNvSpPr>
          <p:nvPr/>
        </p:nvSpPr>
        <p:spPr>
          <a:xfrm>
            <a:off x="3393439" y="585365"/>
            <a:ext cx="5349321" cy="123110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b="1">
                <a:solidFill>
                  <a:srgbClr val="FFFFFF"/>
                </a:solidFill>
              </a:rPr>
              <a:t>Fabrik mit Zukunft </a:t>
            </a:r>
          </a:p>
          <a:p>
            <a:r>
              <a:rPr lang="de-DE" sz="4000" b="1">
                <a:solidFill>
                  <a:srgbClr val="FFFFFF"/>
                </a:solidFill>
              </a:rPr>
              <a:t>Lean, Green, Digital</a:t>
            </a:r>
            <a:endParaRPr lang="de-DE" sz="4000" b="1">
              <a:solidFill>
                <a:srgbClr val="FFFFFF"/>
              </a:solidFill>
              <a:cs typeface="Segoe UI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2E74143A-93BD-8DF0-8450-94551F85DAC2}"/>
              </a:ext>
            </a:extLst>
          </p:cNvPr>
          <p:cNvSpPr/>
          <p:nvPr/>
        </p:nvSpPr>
        <p:spPr>
          <a:xfrm>
            <a:off x="2947214" y="186640"/>
            <a:ext cx="5431113" cy="2048422"/>
          </a:xfrm>
          <a:custGeom>
            <a:avLst/>
            <a:gdLst>
              <a:gd name="connsiteX0" fmla="*/ 0 w 4392055"/>
              <a:gd name="connsiteY0" fmla="*/ 0 h 2546550"/>
              <a:gd name="connsiteX1" fmla="*/ 3666727 w 4392055"/>
              <a:gd name="connsiteY1" fmla="*/ 0 h 2546550"/>
              <a:gd name="connsiteX2" fmla="*/ 3920214 w 4392055"/>
              <a:gd name="connsiteY2" fmla="*/ 0 h 2546550"/>
              <a:gd name="connsiteX3" fmla="*/ 4392055 w 4392055"/>
              <a:gd name="connsiteY3" fmla="*/ 0 h 2546550"/>
              <a:gd name="connsiteX4" fmla="*/ 4392055 w 4392055"/>
              <a:gd name="connsiteY4" fmla="*/ 2546550 h 2546550"/>
              <a:gd name="connsiteX5" fmla="*/ 3920214 w 4392055"/>
              <a:gd name="connsiteY5" fmla="*/ 2546550 h 2546550"/>
              <a:gd name="connsiteX6" fmla="*/ 3666727 w 4392055"/>
              <a:gd name="connsiteY6" fmla="*/ 2546550 h 2546550"/>
              <a:gd name="connsiteX7" fmla="*/ 0 w 4392055"/>
              <a:gd name="connsiteY7" fmla="*/ 2546550 h 2546550"/>
              <a:gd name="connsiteX8" fmla="*/ 0 w 4392055"/>
              <a:gd name="connsiteY8" fmla="*/ 1507549 h 2546550"/>
              <a:gd name="connsiteX9" fmla="*/ 234275 w 4392055"/>
              <a:gd name="connsiteY9" fmla="*/ 1273276 h 2546550"/>
              <a:gd name="connsiteX10" fmla="*/ 0 w 4392055"/>
              <a:gd name="connsiteY10" fmla="*/ 1039002 h 25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2055" h="2546550">
                <a:moveTo>
                  <a:pt x="0" y="0"/>
                </a:moveTo>
                <a:lnTo>
                  <a:pt x="3666727" y="0"/>
                </a:lnTo>
                <a:lnTo>
                  <a:pt x="3920214" y="0"/>
                </a:lnTo>
                <a:lnTo>
                  <a:pt x="4392055" y="0"/>
                </a:lnTo>
                <a:lnTo>
                  <a:pt x="4392055" y="2546550"/>
                </a:lnTo>
                <a:lnTo>
                  <a:pt x="3920214" y="2546550"/>
                </a:lnTo>
                <a:lnTo>
                  <a:pt x="3666727" y="2546550"/>
                </a:lnTo>
                <a:lnTo>
                  <a:pt x="0" y="2546550"/>
                </a:lnTo>
                <a:lnTo>
                  <a:pt x="0" y="1507549"/>
                </a:lnTo>
                <a:lnTo>
                  <a:pt x="234275" y="1273276"/>
                </a:lnTo>
                <a:lnTo>
                  <a:pt x="0" y="1039002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710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22F7BB3-1A00-EA64-C636-A039A1A23E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2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DA6C98-6414-33BE-9BBC-B9D5EE5BAF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Oliver Türk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19F19D-F99E-E6D8-5EE7-E5B45406D21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CB332E-BBCB-48A0-9BB4-8D3541D6C39B}" type="datetime1">
              <a:rPr lang="de-DE" smtClean="0"/>
              <a:pPr/>
              <a:t>20.04.20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A7507E3-AB80-9F5F-EBC8-8BE8ECAFE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12057"/>
            <a:ext cx="11160125" cy="609240"/>
          </a:xfrm>
        </p:spPr>
        <p:txBody>
          <a:bodyPr/>
          <a:lstStyle/>
          <a:p>
            <a:r>
              <a:rPr lang="de-DE">
                <a:solidFill>
                  <a:schemeClr val="dk1"/>
                </a:solidFill>
              </a:rPr>
              <a:t>Entstehungsgeschichte Zerspanungskompetenzzentru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C920338-844C-A01B-02F8-2F5DE823B954}"/>
              </a:ext>
            </a:extLst>
          </p:cNvPr>
          <p:cNvSpPr/>
          <p:nvPr/>
        </p:nvSpPr>
        <p:spPr>
          <a:xfrm>
            <a:off x="744538" y="1251612"/>
            <a:ext cx="10573319" cy="4911063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5E7C3A6-1AD4-A4CC-17CB-78DB60AD0F67}"/>
              </a:ext>
            </a:extLst>
          </p:cNvPr>
          <p:cNvSpPr txBox="1"/>
          <p:nvPr/>
        </p:nvSpPr>
        <p:spPr>
          <a:xfrm>
            <a:off x="1019261" y="1083635"/>
            <a:ext cx="361355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tx2"/>
                </a:solidFill>
              </a:rPr>
              <a:t> Ausgangssituation im Jahr 2015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E047D70-AB2A-9067-99E0-345DDEF33B3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19261" y="1413189"/>
            <a:ext cx="4767184" cy="31854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216000" indent="-216000" algn="l" defTabSz="914355" rtl="0" eaLnBrk="1" latinLnBrk="0" hangingPunct="1">
              <a:buClr>
                <a:schemeClr val="tx1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1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1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1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1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1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algn="l">
              <a:buNone/>
            </a:pPr>
            <a:endParaRPr lang="de-DE" sz="1600"/>
          </a:p>
          <a:p>
            <a:r>
              <a:rPr lang="de-DE" sz="1600"/>
              <a:t>Rückläufige </a:t>
            </a:r>
            <a:r>
              <a:rPr lang="de-DE" sz="1600" b="1"/>
              <a:t>Auslastung</a:t>
            </a:r>
            <a:r>
              <a:rPr lang="de-DE" sz="1600"/>
              <a:t> &amp; hohes </a:t>
            </a:r>
            <a:r>
              <a:rPr lang="de-DE" sz="1600" b="1"/>
              <a:t>Maschinenalter</a:t>
            </a:r>
          </a:p>
          <a:p>
            <a:pPr marL="0" indent="0" algn="l">
              <a:buNone/>
            </a:pPr>
            <a:endParaRPr lang="de-DE" sz="1600"/>
          </a:p>
          <a:p>
            <a:r>
              <a:rPr lang="de-DE" sz="1600"/>
              <a:t>Linienorientierte </a:t>
            </a:r>
            <a:r>
              <a:rPr lang="de-DE" sz="1600" b="1"/>
              <a:t>Organisationseinheiten</a:t>
            </a:r>
            <a:r>
              <a:rPr lang="de-DE" sz="1600"/>
              <a:t> (Produktorientierte Produktion)</a:t>
            </a:r>
          </a:p>
          <a:p>
            <a:pPr marL="0" indent="0" algn="l">
              <a:buNone/>
            </a:pPr>
            <a:endParaRPr lang="de-DE" sz="1600"/>
          </a:p>
          <a:p>
            <a:pPr algn="l"/>
            <a:r>
              <a:rPr lang="de-DE" sz="1600"/>
              <a:t>Untersuchung von 4 </a:t>
            </a:r>
            <a:r>
              <a:rPr lang="de-DE" sz="1600" b="1"/>
              <a:t>gleichwertigen</a:t>
            </a:r>
            <a:r>
              <a:rPr lang="de-DE" sz="1600"/>
              <a:t> Maschinen in 4 unterschiedlichen Prozessketten:</a:t>
            </a:r>
          </a:p>
          <a:p>
            <a:pPr algn="l"/>
            <a:endParaRPr lang="de-DE" sz="700"/>
          </a:p>
          <a:p>
            <a:pPr lvl="4"/>
            <a:r>
              <a:rPr lang="de-DE" sz="1200"/>
              <a:t>Hohe </a:t>
            </a:r>
            <a:r>
              <a:rPr lang="de-DE" sz="1200" b="1"/>
              <a:t>Differenzen</a:t>
            </a:r>
            <a:r>
              <a:rPr lang="de-DE" sz="1200"/>
              <a:t> im Stundensatz, vor allem durch Strukturkosten</a:t>
            </a:r>
          </a:p>
          <a:p>
            <a:pPr lvl="4"/>
            <a:r>
              <a:rPr lang="de-DE" sz="1200"/>
              <a:t>Durchgängig fortgeschrittenes </a:t>
            </a:r>
            <a:r>
              <a:rPr lang="de-DE" sz="1200" b="1"/>
              <a:t>Maschinenalter</a:t>
            </a:r>
            <a:r>
              <a:rPr lang="de-DE" sz="1200"/>
              <a:t>, zum Teil 80% ausgelastet</a:t>
            </a:r>
          </a:p>
          <a:p>
            <a:pPr lvl="4"/>
            <a:r>
              <a:rPr lang="de-DE" sz="1200"/>
              <a:t>Aus der umfassenden </a:t>
            </a:r>
            <a:r>
              <a:rPr lang="de-DE" sz="1200" b="1"/>
              <a:t>Prozessverantwortung</a:t>
            </a:r>
            <a:r>
              <a:rPr lang="de-DE" sz="1200"/>
              <a:t> resultierte Komplexität in der Administrati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425EAF9-C33E-0F8E-8825-5C4539CE1E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0102" y="4901604"/>
            <a:ext cx="534394" cy="53439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1E5DF1D-1FF5-AF2F-9219-DBAE067DEB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1957" y="4938692"/>
            <a:ext cx="534394" cy="53439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A3ABE0F-496A-FE61-72E2-8795229523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0102" y="5529906"/>
            <a:ext cx="534394" cy="53439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A46CA276-8028-6C19-01BD-5E8747629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1957" y="5535312"/>
            <a:ext cx="534394" cy="534394"/>
          </a:xfrm>
          <a:prstGeom prst="rect">
            <a:avLst/>
          </a:prstGeom>
        </p:spPr>
      </p:pic>
      <p:sp>
        <p:nvSpPr>
          <p:cNvPr id="18" name="Geschweifte Klammer links 17">
            <a:extLst>
              <a:ext uri="{FF2B5EF4-FFF2-40B4-BE49-F238E27FC236}">
                <a16:creationId xmlns:a16="http://schemas.microsoft.com/office/drawing/2014/main" id="{81A99EAC-EECB-10EC-5357-FBB7A3E0BBB0}"/>
              </a:ext>
            </a:extLst>
          </p:cNvPr>
          <p:cNvSpPr/>
          <p:nvPr/>
        </p:nvSpPr>
        <p:spPr>
          <a:xfrm rot="10800000">
            <a:off x="3140316" y="4993083"/>
            <a:ext cx="360321" cy="1052981"/>
          </a:xfrm>
          <a:prstGeom prst="leftBrac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D33815C-2B02-5DB8-DABC-3AA82379773F}"/>
              </a:ext>
            </a:extLst>
          </p:cNvPr>
          <p:cNvSpPr txBox="1"/>
          <p:nvPr/>
        </p:nvSpPr>
        <p:spPr>
          <a:xfrm>
            <a:off x="3583749" y="5304129"/>
            <a:ext cx="11363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i="1">
                <a:solidFill>
                  <a:schemeClr val="accent3"/>
                </a:solidFill>
              </a:rPr>
              <a:t>Gründung PE-Fertigung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0B06CAD-3E1F-D0A1-5369-16F8A0813DD8}"/>
              </a:ext>
            </a:extLst>
          </p:cNvPr>
          <p:cNvCxnSpPr>
            <a:cxnSpLocks/>
          </p:cNvCxnSpPr>
          <p:nvPr/>
        </p:nvCxnSpPr>
        <p:spPr>
          <a:xfrm flipV="1">
            <a:off x="5303524" y="5308068"/>
            <a:ext cx="1647645" cy="24429"/>
          </a:xfrm>
          <a:prstGeom prst="straightConnector1">
            <a:avLst/>
          </a:prstGeom>
          <a:ln w="7620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2ED3B127-AB9B-76E0-8E44-746946B1B1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0715" y="4317492"/>
            <a:ext cx="3789872" cy="170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04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850136D-C3A5-1CCC-8FC2-634216C180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3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CBDE820-DE91-8861-D19F-ADC18EF11A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Oliver Türk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8BEBED0-14B4-0717-DA54-51D2BB37648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CB332E-BBCB-48A0-9BB4-8D3541D6C39B}" type="datetime1">
              <a:rPr lang="de-DE" smtClean="0"/>
              <a:pPr/>
              <a:t>20.04.20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3A6DA2C-7AF2-7263-82AC-E1021446E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40234"/>
            <a:ext cx="4109026" cy="868362"/>
          </a:xfrm>
        </p:spPr>
        <p:txBody>
          <a:bodyPr/>
          <a:lstStyle/>
          <a:p>
            <a:r>
              <a:rPr lang="de-DE"/>
              <a:t>5 Jahresplan im Überblick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4D86595-1646-647A-03EF-02F78F6C0B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5938" y="831428"/>
            <a:ext cx="3888934" cy="387798"/>
          </a:xfrm>
        </p:spPr>
        <p:txBody>
          <a:bodyPr/>
          <a:lstStyle/>
          <a:p>
            <a:r>
              <a:rPr lang="de-DE"/>
              <a:t>Der Weg zur Fabrik mit Zukunf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4219C0D-D328-FA53-0F0F-61062B8E8DE4}"/>
              </a:ext>
            </a:extLst>
          </p:cNvPr>
          <p:cNvSpPr/>
          <p:nvPr/>
        </p:nvSpPr>
        <p:spPr>
          <a:xfrm flipV="1">
            <a:off x="0" y="3722005"/>
            <a:ext cx="12192000" cy="4571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C080D1-FABD-09D2-5BF8-407B02E16975}"/>
              </a:ext>
            </a:extLst>
          </p:cNvPr>
          <p:cNvSpPr txBox="1">
            <a:spLocks/>
          </p:cNvSpPr>
          <p:nvPr/>
        </p:nvSpPr>
        <p:spPr>
          <a:xfrm>
            <a:off x="223816" y="3311668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15/16</a:t>
            </a:r>
          </a:p>
        </p:txBody>
      </p:sp>
      <p:sp>
        <p:nvSpPr>
          <p:cNvPr id="10" name="Porsche_CO-Triangle">
            <a:extLst>
              <a:ext uri="{FF2B5EF4-FFF2-40B4-BE49-F238E27FC236}">
                <a16:creationId xmlns:a16="http://schemas.microsoft.com/office/drawing/2014/main" id="{10D84300-EC74-11A6-38CF-CCE611210C11}"/>
              </a:ext>
            </a:extLst>
          </p:cNvPr>
          <p:cNvSpPr>
            <a:spLocks noChangeAspect="1"/>
          </p:cNvSpPr>
          <p:nvPr/>
        </p:nvSpPr>
        <p:spPr>
          <a:xfrm>
            <a:off x="540467" y="3627358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E2475448-B828-7CF2-236A-4ACE09DC4E47}"/>
              </a:ext>
            </a:extLst>
          </p:cNvPr>
          <p:cNvGrpSpPr/>
          <p:nvPr/>
        </p:nvGrpSpPr>
        <p:grpSpPr>
          <a:xfrm>
            <a:off x="448677" y="4350808"/>
            <a:ext cx="4023455" cy="765622"/>
            <a:chOff x="2176360" y="4295674"/>
            <a:chExt cx="4023455" cy="765622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6EC3ACE8-FECD-2E63-9ECD-9CD19B888439}"/>
                </a:ext>
              </a:extLst>
            </p:cNvPr>
            <p:cNvSpPr/>
            <p:nvPr/>
          </p:nvSpPr>
          <p:spPr>
            <a:xfrm>
              <a:off x="2176360" y="4295674"/>
              <a:ext cx="4023455" cy="76562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124184483">
                    <a:custGeom>
                      <a:avLst/>
                      <a:gdLst>
                        <a:gd name="connsiteX0" fmla="*/ 0 w 4023455"/>
                        <a:gd name="connsiteY0" fmla="*/ 0 h 765622"/>
                        <a:gd name="connsiteX1" fmla="*/ 4023455 w 4023455"/>
                        <a:gd name="connsiteY1" fmla="*/ 0 h 765622"/>
                        <a:gd name="connsiteX2" fmla="*/ 4023455 w 4023455"/>
                        <a:gd name="connsiteY2" fmla="*/ 765622 h 765622"/>
                        <a:gd name="connsiteX3" fmla="*/ 0 w 4023455"/>
                        <a:gd name="connsiteY3" fmla="*/ 765622 h 765622"/>
                        <a:gd name="connsiteX4" fmla="*/ 0 w 4023455"/>
                        <a:gd name="connsiteY4" fmla="*/ 0 h 7656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23455" h="765622" fill="none" extrusionOk="0">
                          <a:moveTo>
                            <a:pt x="0" y="0"/>
                          </a:moveTo>
                          <a:cubicBezTo>
                            <a:pt x="1304661" y="-136391"/>
                            <a:pt x="2514595" y="-106146"/>
                            <a:pt x="4023455" y="0"/>
                          </a:cubicBezTo>
                          <a:cubicBezTo>
                            <a:pt x="4002887" y="260846"/>
                            <a:pt x="3960475" y="576073"/>
                            <a:pt x="4023455" y="765622"/>
                          </a:cubicBezTo>
                          <a:cubicBezTo>
                            <a:pt x="2599945" y="734595"/>
                            <a:pt x="747754" y="738288"/>
                            <a:pt x="0" y="765622"/>
                          </a:cubicBezTo>
                          <a:cubicBezTo>
                            <a:pt x="-47993" y="539675"/>
                            <a:pt x="-53538" y="151426"/>
                            <a:pt x="0" y="0"/>
                          </a:cubicBezTo>
                          <a:close/>
                        </a:path>
                        <a:path w="4023455" h="765622" stroke="0" extrusionOk="0">
                          <a:moveTo>
                            <a:pt x="0" y="0"/>
                          </a:moveTo>
                          <a:cubicBezTo>
                            <a:pt x="1703921" y="-10935"/>
                            <a:pt x="2978094" y="-144083"/>
                            <a:pt x="4023455" y="0"/>
                          </a:cubicBezTo>
                          <a:cubicBezTo>
                            <a:pt x="4055490" y="263766"/>
                            <a:pt x="3971872" y="628031"/>
                            <a:pt x="4023455" y="765622"/>
                          </a:cubicBezTo>
                          <a:cubicBezTo>
                            <a:pt x="2509364" y="861557"/>
                            <a:pt x="1020607" y="771685"/>
                            <a:pt x="0" y="765622"/>
                          </a:cubicBezTo>
                          <a:cubicBezTo>
                            <a:pt x="17544" y="676896"/>
                            <a:pt x="-6962" y="228429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474DFAED-ABA9-F41E-AF27-5B8B856CD4E4}"/>
                </a:ext>
              </a:extLst>
            </p:cNvPr>
            <p:cNvSpPr txBox="1"/>
            <p:nvPr/>
          </p:nvSpPr>
          <p:spPr>
            <a:xfrm>
              <a:off x="2988029" y="4432263"/>
              <a:ext cx="316285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600"/>
                <a:t>Konsolidierung Maschinenpark &amp; Teilespektrum</a:t>
              </a:r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93C5FFD1-755A-15EF-942D-8D8DB942B7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7676" b="61719" l="31641" r="67969">
                          <a14:foregroundMark x1="50391" y1="19434" x2="50391" y2="19434"/>
                          <a14:foregroundMark x1="49707" y1="17871" x2="49707" y2="17871"/>
                          <a14:foregroundMark x1="67285" y1="52832" x2="67285" y2="52832"/>
                          <a14:foregroundMark x1="68164" y1="58008" x2="68164" y2="58008"/>
                          <a14:foregroundMark x1="65723" y1="60645" x2="65723" y2="60645"/>
                          <a14:foregroundMark x1="51855" y1="61719" x2="51855" y2="61719"/>
                          <a14:foregroundMark x1="39355" y1="60938" x2="39355" y2="60938"/>
                          <a14:foregroundMark x1="31641" y1="59668" x2="31641" y2="59668"/>
                        </a14:backgroundRemoval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 l="29532" t="15322" r="29182" b="36374"/>
            <a:stretch/>
          </p:blipFill>
          <p:spPr>
            <a:xfrm>
              <a:off x="2356602" y="4358453"/>
              <a:ext cx="451185" cy="527874"/>
            </a:xfrm>
            <a:prstGeom prst="rect">
              <a:avLst/>
            </a:prstGeom>
          </p:spPr>
        </p:pic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B9657E47-E063-5979-439E-B549B8B3AB57}"/>
              </a:ext>
            </a:extLst>
          </p:cNvPr>
          <p:cNvGrpSpPr/>
          <p:nvPr/>
        </p:nvGrpSpPr>
        <p:grpSpPr>
          <a:xfrm>
            <a:off x="6734679" y="895002"/>
            <a:ext cx="2822877" cy="714649"/>
            <a:chOff x="6734679" y="895002"/>
            <a:chExt cx="2822877" cy="714649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05DCC9F-D250-D840-E140-744720062A9B}"/>
                </a:ext>
              </a:extLst>
            </p:cNvPr>
            <p:cNvSpPr/>
            <p:nvPr/>
          </p:nvSpPr>
          <p:spPr>
            <a:xfrm>
              <a:off x="6734679" y="895002"/>
              <a:ext cx="2822877" cy="71464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124184483">
                    <a:custGeom>
                      <a:avLst/>
                      <a:gdLst>
                        <a:gd name="connsiteX0" fmla="*/ 0 w 3565292"/>
                        <a:gd name="connsiteY0" fmla="*/ 0 h 767579"/>
                        <a:gd name="connsiteX1" fmla="*/ 3565292 w 3565292"/>
                        <a:gd name="connsiteY1" fmla="*/ 0 h 767579"/>
                        <a:gd name="connsiteX2" fmla="*/ 3565292 w 3565292"/>
                        <a:gd name="connsiteY2" fmla="*/ 767579 h 767579"/>
                        <a:gd name="connsiteX3" fmla="*/ 0 w 3565292"/>
                        <a:gd name="connsiteY3" fmla="*/ 767579 h 767579"/>
                        <a:gd name="connsiteX4" fmla="*/ 0 w 3565292"/>
                        <a:gd name="connsiteY4" fmla="*/ 0 h 7675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565292" h="767579" fill="none" extrusionOk="0">
                          <a:moveTo>
                            <a:pt x="0" y="0"/>
                          </a:moveTo>
                          <a:cubicBezTo>
                            <a:pt x="1039337" y="-136391"/>
                            <a:pt x="1896759" y="-106146"/>
                            <a:pt x="3565292" y="0"/>
                          </a:cubicBezTo>
                          <a:cubicBezTo>
                            <a:pt x="3531827" y="192524"/>
                            <a:pt x="3559005" y="530729"/>
                            <a:pt x="3565292" y="767579"/>
                          </a:cubicBezTo>
                          <a:cubicBezTo>
                            <a:pt x="3023916" y="736552"/>
                            <a:pt x="1450380" y="740245"/>
                            <a:pt x="0" y="767579"/>
                          </a:cubicBezTo>
                          <a:cubicBezTo>
                            <a:pt x="19818" y="404253"/>
                            <a:pt x="652" y="252768"/>
                            <a:pt x="0" y="0"/>
                          </a:cubicBezTo>
                          <a:close/>
                        </a:path>
                        <a:path w="3565292" h="767579" stroke="0" extrusionOk="0">
                          <a:moveTo>
                            <a:pt x="0" y="0"/>
                          </a:moveTo>
                          <a:cubicBezTo>
                            <a:pt x="929831" y="-10935"/>
                            <a:pt x="1868247" y="-144083"/>
                            <a:pt x="3565292" y="0"/>
                          </a:cubicBezTo>
                          <a:cubicBezTo>
                            <a:pt x="3497108" y="273632"/>
                            <a:pt x="3599836" y="420094"/>
                            <a:pt x="3565292" y="767579"/>
                          </a:cubicBezTo>
                          <a:cubicBezTo>
                            <a:pt x="2055641" y="863514"/>
                            <a:pt x="385327" y="773642"/>
                            <a:pt x="0" y="767579"/>
                          </a:cubicBezTo>
                          <a:cubicBezTo>
                            <a:pt x="67194" y="396656"/>
                            <a:pt x="3118" y="230872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B4F3287-18E4-D744-9011-71C186EF60C3}"/>
                </a:ext>
              </a:extLst>
            </p:cNvPr>
            <p:cNvSpPr txBox="1"/>
            <p:nvPr/>
          </p:nvSpPr>
          <p:spPr>
            <a:xfrm>
              <a:off x="7567687" y="978284"/>
              <a:ext cx="198986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600"/>
                <a:t>Neubau Langenbühl:</a:t>
              </a:r>
            </a:p>
            <a:p>
              <a:pPr algn="l"/>
              <a:r>
                <a:rPr lang="de-DE" sz="1600"/>
                <a:t>Lean, Green &amp; Digital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AEC98977-5939-0CD4-D725-BC6A88F38F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20525" b="80574" l="20927" r="80859">
                          <a14:foregroundMark x1="20886" y1="22363" x2="20886" y2="22363"/>
                          <a14:foregroundMark x1="32068" y1="27426" x2="32068" y2="27426"/>
                          <a14:foregroundMark x1="53797" y1="21308" x2="53797" y2="21308"/>
                          <a14:foregroundMark x1="67722" y1="26793" x2="67722" y2="26793"/>
                          <a14:foregroundMark x1="64557" y1="39241" x2="64557" y2="39241"/>
                          <a14:foregroundMark x1="79747" y1="34177" x2="79747" y2="34177"/>
                          <a14:foregroundMark x1="42616" y1="39030" x2="42616" y2="39030"/>
                          <a14:foregroundMark x1="22152" y1="44515" x2="22152" y2="44515"/>
                          <a14:foregroundMark x1="68143" y1="55274" x2="68143" y2="55274"/>
                          <a14:foregroundMark x1="58861" y1="66034" x2="58861" y2="66034"/>
                          <a14:foregroundMark x1="53376" y1="67089" x2="53376" y2="67089"/>
                          <a14:foregroundMark x1="47468" y1="68776" x2="47468" y2="68776"/>
                          <a14:foregroundMark x1="40928" y1="65401" x2="40928" y2="65401"/>
                          <a14:foregroundMark x1="22574" y1="55485" x2="22574" y2="55485"/>
                        </a14:backgroundRemoval>
                      </a14:imgEffect>
                    </a14:imgLayer>
                  </a14:imgProps>
                </a:ext>
              </a:extLst>
            </a:blip>
            <a:srcRect l="13435" t="13019" r="11649" b="11920"/>
            <a:stretch/>
          </p:blipFill>
          <p:spPr>
            <a:xfrm>
              <a:off x="6839988" y="938452"/>
              <a:ext cx="607854" cy="609025"/>
            </a:xfrm>
            <a:prstGeom prst="rect">
              <a:avLst/>
            </a:prstGeom>
          </p:spPr>
        </p:pic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954DDCD6-756C-3D89-2F6E-5BC795947EB4}"/>
              </a:ext>
            </a:extLst>
          </p:cNvPr>
          <p:cNvGrpSpPr/>
          <p:nvPr/>
        </p:nvGrpSpPr>
        <p:grpSpPr>
          <a:xfrm>
            <a:off x="9940121" y="2402986"/>
            <a:ext cx="2160539" cy="760885"/>
            <a:chOff x="9940121" y="2402986"/>
            <a:chExt cx="2160539" cy="760885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2696A1F-307A-4B0F-415E-CDD141CF42A7}"/>
                </a:ext>
              </a:extLst>
            </p:cNvPr>
            <p:cNvSpPr/>
            <p:nvPr/>
          </p:nvSpPr>
          <p:spPr>
            <a:xfrm>
              <a:off x="9940121" y="2402986"/>
              <a:ext cx="2070904" cy="76088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124184483">
                    <a:custGeom>
                      <a:avLst/>
                      <a:gdLst>
                        <a:gd name="connsiteX0" fmla="*/ 0 w 2016366"/>
                        <a:gd name="connsiteY0" fmla="*/ 0 h 760885"/>
                        <a:gd name="connsiteX1" fmla="*/ 2016366 w 2016366"/>
                        <a:gd name="connsiteY1" fmla="*/ 0 h 760885"/>
                        <a:gd name="connsiteX2" fmla="*/ 2016366 w 2016366"/>
                        <a:gd name="connsiteY2" fmla="*/ 760885 h 760885"/>
                        <a:gd name="connsiteX3" fmla="*/ 0 w 2016366"/>
                        <a:gd name="connsiteY3" fmla="*/ 760885 h 760885"/>
                        <a:gd name="connsiteX4" fmla="*/ 0 w 2016366"/>
                        <a:gd name="connsiteY4" fmla="*/ 0 h 7608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16366" h="760885" fill="none" extrusionOk="0">
                          <a:moveTo>
                            <a:pt x="0" y="0"/>
                          </a:moveTo>
                          <a:cubicBezTo>
                            <a:pt x="472946" y="-136391"/>
                            <a:pt x="1427852" y="-106146"/>
                            <a:pt x="2016366" y="0"/>
                          </a:cubicBezTo>
                          <a:cubicBezTo>
                            <a:pt x="2004795" y="376531"/>
                            <a:pt x="1966116" y="522783"/>
                            <a:pt x="2016366" y="760885"/>
                          </a:cubicBezTo>
                          <a:cubicBezTo>
                            <a:pt x="1640942" y="729858"/>
                            <a:pt x="407350" y="733551"/>
                            <a:pt x="0" y="760885"/>
                          </a:cubicBezTo>
                          <a:cubicBezTo>
                            <a:pt x="48929" y="442928"/>
                            <a:pt x="15698" y="352096"/>
                            <a:pt x="0" y="0"/>
                          </a:cubicBezTo>
                          <a:close/>
                        </a:path>
                        <a:path w="2016366" h="760885" stroke="0" extrusionOk="0">
                          <a:moveTo>
                            <a:pt x="0" y="0"/>
                          </a:moveTo>
                          <a:cubicBezTo>
                            <a:pt x="878091" y="-10935"/>
                            <a:pt x="1752476" y="-144083"/>
                            <a:pt x="2016366" y="0"/>
                          </a:cubicBezTo>
                          <a:cubicBezTo>
                            <a:pt x="2036353" y="126529"/>
                            <a:pt x="2036656" y="586307"/>
                            <a:pt x="2016366" y="760885"/>
                          </a:cubicBezTo>
                          <a:cubicBezTo>
                            <a:pt x="1559138" y="856820"/>
                            <a:pt x="973887" y="766948"/>
                            <a:pt x="0" y="760885"/>
                          </a:cubicBezTo>
                          <a:cubicBezTo>
                            <a:pt x="11964" y="626332"/>
                            <a:pt x="-18782" y="165995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pic>
          <p:nvPicPr>
            <p:cNvPr id="21" name="Picture 4" descr="Quellbild anzeigen">
              <a:extLst>
                <a:ext uri="{FF2B5EF4-FFF2-40B4-BE49-F238E27FC236}">
                  <a16:creationId xmlns:a16="http://schemas.microsoft.com/office/drawing/2014/main" id="{DC4A1C98-5B10-F241-DB13-7C4EECF18E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14066" y="2560156"/>
              <a:ext cx="470372" cy="470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04D7B926-8D86-08E9-90EC-9042F7064C85}"/>
                </a:ext>
              </a:extLst>
            </p:cNvPr>
            <p:cNvSpPr txBox="1"/>
            <p:nvPr/>
          </p:nvSpPr>
          <p:spPr>
            <a:xfrm>
              <a:off x="10732051" y="2538085"/>
              <a:ext cx="136860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600"/>
                <a:t>Bereit für die Zukunft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A059F6C-081E-927E-8636-060EE0AA3B9E}"/>
              </a:ext>
            </a:extLst>
          </p:cNvPr>
          <p:cNvGrpSpPr/>
          <p:nvPr/>
        </p:nvGrpSpPr>
        <p:grpSpPr>
          <a:xfrm>
            <a:off x="4520298" y="2308670"/>
            <a:ext cx="3835893" cy="769449"/>
            <a:chOff x="4520298" y="2308670"/>
            <a:chExt cx="3835893" cy="769449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701E4864-D111-7CAF-A0F1-6B9A986CCA7B}"/>
                </a:ext>
              </a:extLst>
            </p:cNvPr>
            <p:cNvSpPr/>
            <p:nvPr/>
          </p:nvSpPr>
          <p:spPr>
            <a:xfrm>
              <a:off x="4520298" y="2308670"/>
              <a:ext cx="3835893" cy="76944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124184483">
                    <a:custGeom>
                      <a:avLst/>
                      <a:gdLst>
                        <a:gd name="connsiteX0" fmla="*/ 0 w 3812119"/>
                        <a:gd name="connsiteY0" fmla="*/ 0 h 769449"/>
                        <a:gd name="connsiteX1" fmla="*/ 3812119 w 3812119"/>
                        <a:gd name="connsiteY1" fmla="*/ 0 h 769449"/>
                        <a:gd name="connsiteX2" fmla="*/ 3812119 w 3812119"/>
                        <a:gd name="connsiteY2" fmla="*/ 769449 h 769449"/>
                        <a:gd name="connsiteX3" fmla="*/ 0 w 3812119"/>
                        <a:gd name="connsiteY3" fmla="*/ 769449 h 769449"/>
                        <a:gd name="connsiteX4" fmla="*/ 0 w 3812119"/>
                        <a:gd name="connsiteY4" fmla="*/ 0 h 7694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812119" h="769449" fill="none" extrusionOk="0">
                          <a:moveTo>
                            <a:pt x="0" y="0"/>
                          </a:moveTo>
                          <a:cubicBezTo>
                            <a:pt x="405889" y="-136391"/>
                            <a:pt x="2919932" y="-106146"/>
                            <a:pt x="3812119" y="0"/>
                          </a:cubicBezTo>
                          <a:cubicBezTo>
                            <a:pt x="3748076" y="122366"/>
                            <a:pt x="3875591" y="401928"/>
                            <a:pt x="3812119" y="769449"/>
                          </a:cubicBezTo>
                          <a:cubicBezTo>
                            <a:pt x="3004712" y="738422"/>
                            <a:pt x="1748441" y="742115"/>
                            <a:pt x="0" y="769449"/>
                          </a:cubicBezTo>
                          <a:cubicBezTo>
                            <a:pt x="52967" y="602650"/>
                            <a:pt x="30032" y="228442"/>
                            <a:pt x="0" y="0"/>
                          </a:cubicBezTo>
                          <a:close/>
                        </a:path>
                        <a:path w="3812119" h="769449" stroke="0" extrusionOk="0">
                          <a:moveTo>
                            <a:pt x="0" y="0"/>
                          </a:moveTo>
                          <a:cubicBezTo>
                            <a:pt x="812178" y="-10935"/>
                            <a:pt x="2112756" y="-144083"/>
                            <a:pt x="3812119" y="0"/>
                          </a:cubicBezTo>
                          <a:cubicBezTo>
                            <a:pt x="3834143" y="202460"/>
                            <a:pt x="3806284" y="604908"/>
                            <a:pt x="3812119" y="769449"/>
                          </a:cubicBezTo>
                          <a:cubicBezTo>
                            <a:pt x="2079425" y="865384"/>
                            <a:pt x="1220592" y="775512"/>
                            <a:pt x="0" y="769449"/>
                          </a:cubicBezTo>
                          <a:cubicBezTo>
                            <a:pt x="-26058" y="456673"/>
                            <a:pt x="-61983" y="328951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2DF48F6-FE06-1C79-05FA-C5F7AB3A98D8}"/>
                </a:ext>
              </a:extLst>
            </p:cNvPr>
            <p:cNvSpPr txBox="1"/>
            <p:nvPr/>
          </p:nvSpPr>
          <p:spPr>
            <a:xfrm>
              <a:off x="5402433" y="2409052"/>
              <a:ext cx="290542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600"/>
                <a:t>Konzeptionierung Teileportfolio</a:t>
              </a:r>
            </a:p>
            <a:p>
              <a:pPr algn="l"/>
              <a:r>
                <a:rPr lang="de-DE" sz="1600"/>
                <a:t>Make or Buy Vergleiche</a:t>
              </a: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DCF7E2A5-73AA-0748-6EE5-029285A87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89549" y="2410029"/>
              <a:ext cx="643295" cy="451061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685E972-89FB-F0FD-50C3-419C6149FC95}"/>
              </a:ext>
            </a:extLst>
          </p:cNvPr>
          <p:cNvGrpSpPr/>
          <p:nvPr/>
        </p:nvGrpSpPr>
        <p:grpSpPr>
          <a:xfrm>
            <a:off x="580550" y="1581061"/>
            <a:ext cx="3371719" cy="792238"/>
            <a:chOff x="580550" y="1581061"/>
            <a:chExt cx="3371719" cy="792238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B855DDB-33F6-CF16-C144-9EED5C139C63}"/>
                </a:ext>
              </a:extLst>
            </p:cNvPr>
            <p:cNvSpPr/>
            <p:nvPr/>
          </p:nvSpPr>
          <p:spPr>
            <a:xfrm>
              <a:off x="580550" y="1581061"/>
              <a:ext cx="3371719" cy="79223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124184483">
                    <a:custGeom>
                      <a:avLst/>
                      <a:gdLst>
                        <a:gd name="connsiteX0" fmla="*/ 0 w 2896043"/>
                        <a:gd name="connsiteY0" fmla="*/ 0 h 769449"/>
                        <a:gd name="connsiteX1" fmla="*/ 2896043 w 2896043"/>
                        <a:gd name="connsiteY1" fmla="*/ 0 h 769449"/>
                        <a:gd name="connsiteX2" fmla="*/ 2896043 w 2896043"/>
                        <a:gd name="connsiteY2" fmla="*/ 769449 h 769449"/>
                        <a:gd name="connsiteX3" fmla="*/ 0 w 2896043"/>
                        <a:gd name="connsiteY3" fmla="*/ 769449 h 769449"/>
                        <a:gd name="connsiteX4" fmla="*/ 0 w 2896043"/>
                        <a:gd name="connsiteY4" fmla="*/ 0 h 7694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896043" h="769449" fill="none" extrusionOk="0">
                          <a:moveTo>
                            <a:pt x="0" y="0"/>
                          </a:moveTo>
                          <a:cubicBezTo>
                            <a:pt x="1400334" y="-136391"/>
                            <a:pt x="1843363" y="-106146"/>
                            <a:pt x="2896043" y="0"/>
                          </a:cubicBezTo>
                          <a:cubicBezTo>
                            <a:pt x="2832000" y="122366"/>
                            <a:pt x="2959515" y="401928"/>
                            <a:pt x="2896043" y="769449"/>
                          </a:cubicBezTo>
                          <a:cubicBezTo>
                            <a:pt x="2416752" y="738422"/>
                            <a:pt x="1022921" y="742115"/>
                            <a:pt x="0" y="769449"/>
                          </a:cubicBezTo>
                          <a:cubicBezTo>
                            <a:pt x="52967" y="602650"/>
                            <a:pt x="30032" y="228442"/>
                            <a:pt x="0" y="0"/>
                          </a:cubicBezTo>
                          <a:close/>
                        </a:path>
                        <a:path w="2896043" h="769449" stroke="0" extrusionOk="0">
                          <a:moveTo>
                            <a:pt x="0" y="0"/>
                          </a:moveTo>
                          <a:cubicBezTo>
                            <a:pt x="1294677" y="-10935"/>
                            <a:pt x="2013298" y="-144083"/>
                            <a:pt x="2896043" y="0"/>
                          </a:cubicBezTo>
                          <a:cubicBezTo>
                            <a:pt x="2918067" y="202460"/>
                            <a:pt x="2890208" y="604908"/>
                            <a:pt x="2896043" y="769449"/>
                          </a:cubicBezTo>
                          <a:cubicBezTo>
                            <a:pt x="2051761" y="865384"/>
                            <a:pt x="631274" y="775512"/>
                            <a:pt x="0" y="769449"/>
                          </a:cubicBezTo>
                          <a:cubicBezTo>
                            <a:pt x="-26058" y="456673"/>
                            <a:pt x="-61983" y="328951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72D7A739-4ADC-9EAA-EA41-0E9BE871E2BA}"/>
                </a:ext>
              </a:extLst>
            </p:cNvPr>
            <p:cNvSpPr txBox="1"/>
            <p:nvPr/>
          </p:nvSpPr>
          <p:spPr>
            <a:xfrm>
              <a:off x="1364571" y="1710538"/>
              <a:ext cx="2447471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600"/>
                <a:t>Entstehungsgeschichte &amp; Start PE- Fertigung</a:t>
              </a: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C05EC527-DBDD-EC99-6CC5-64665D7179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4734" y="1694926"/>
              <a:ext cx="421912" cy="421912"/>
            </a:xfrm>
            <a:prstGeom prst="rect">
              <a:avLst/>
            </a:prstGeom>
          </p:spPr>
        </p:pic>
      </p:grp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70D4A32E-FAF8-822C-533B-271040EDCE5E}"/>
              </a:ext>
            </a:extLst>
          </p:cNvPr>
          <p:cNvSpPr txBox="1">
            <a:spLocks/>
          </p:cNvSpPr>
          <p:nvPr/>
        </p:nvSpPr>
        <p:spPr>
          <a:xfrm>
            <a:off x="1800225" y="3869994"/>
            <a:ext cx="81222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16/17</a:t>
            </a:r>
          </a:p>
        </p:txBody>
      </p:sp>
      <p:sp>
        <p:nvSpPr>
          <p:cNvPr id="27" name="Porsche_CO-Triangle">
            <a:extLst>
              <a:ext uri="{FF2B5EF4-FFF2-40B4-BE49-F238E27FC236}">
                <a16:creationId xmlns:a16="http://schemas.microsoft.com/office/drawing/2014/main" id="{EE4E3CB0-08CD-11CC-A37A-6E8993FA560C}"/>
              </a:ext>
            </a:extLst>
          </p:cNvPr>
          <p:cNvSpPr>
            <a:spLocks noChangeAspect="1"/>
          </p:cNvSpPr>
          <p:nvPr/>
        </p:nvSpPr>
        <p:spPr>
          <a:xfrm rot="10800000">
            <a:off x="2089016" y="3774510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BAB65F2C-4971-3D5F-FA1F-64090EB9C916}"/>
              </a:ext>
            </a:extLst>
          </p:cNvPr>
          <p:cNvSpPr txBox="1">
            <a:spLocks/>
          </p:cNvSpPr>
          <p:nvPr/>
        </p:nvSpPr>
        <p:spPr>
          <a:xfrm>
            <a:off x="4868711" y="3880406"/>
            <a:ext cx="81222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18/19</a:t>
            </a:r>
          </a:p>
        </p:txBody>
      </p:sp>
      <p:sp>
        <p:nvSpPr>
          <p:cNvPr id="29" name="Porsche_CO-Triangle">
            <a:extLst>
              <a:ext uri="{FF2B5EF4-FFF2-40B4-BE49-F238E27FC236}">
                <a16:creationId xmlns:a16="http://schemas.microsoft.com/office/drawing/2014/main" id="{33049615-E330-07BB-1227-3F8A60F8EC72}"/>
              </a:ext>
            </a:extLst>
          </p:cNvPr>
          <p:cNvSpPr>
            <a:spLocks noChangeAspect="1"/>
          </p:cNvSpPr>
          <p:nvPr/>
        </p:nvSpPr>
        <p:spPr>
          <a:xfrm rot="10800000">
            <a:off x="5186126" y="3775055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DA953330-D838-B9C9-CDCB-BA625B25631D}"/>
              </a:ext>
            </a:extLst>
          </p:cNvPr>
          <p:cNvSpPr txBox="1">
            <a:spLocks/>
          </p:cNvSpPr>
          <p:nvPr/>
        </p:nvSpPr>
        <p:spPr>
          <a:xfrm>
            <a:off x="3321601" y="3336381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17/18</a:t>
            </a:r>
          </a:p>
        </p:txBody>
      </p:sp>
      <p:sp>
        <p:nvSpPr>
          <p:cNvPr id="31" name="Porsche_CO-Triangle">
            <a:extLst>
              <a:ext uri="{FF2B5EF4-FFF2-40B4-BE49-F238E27FC236}">
                <a16:creationId xmlns:a16="http://schemas.microsoft.com/office/drawing/2014/main" id="{1AAF071C-5721-0651-8DC8-9879B1698AF0}"/>
              </a:ext>
            </a:extLst>
          </p:cNvPr>
          <p:cNvSpPr>
            <a:spLocks noChangeAspect="1"/>
          </p:cNvSpPr>
          <p:nvPr/>
        </p:nvSpPr>
        <p:spPr>
          <a:xfrm>
            <a:off x="3637573" y="3626430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3C26E240-8D76-2EFA-3B13-4D36AF9BE4F7}"/>
              </a:ext>
            </a:extLst>
          </p:cNvPr>
          <p:cNvSpPr txBox="1">
            <a:spLocks/>
          </p:cNvSpPr>
          <p:nvPr/>
        </p:nvSpPr>
        <p:spPr>
          <a:xfrm>
            <a:off x="7937197" y="3903266"/>
            <a:ext cx="8654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20/21</a:t>
            </a:r>
          </a:p>
        </p:txBody>
      </p:sp>
      <p:sp>
        <p:nvSpPr>
          <p:cNvPr id="33" name="Porsche_CO-Triangle">
            <a:extLst>
              <a:ext uri="{FF2B5EF4-FFF2-40B4-BE49-F238E27FC236}">
                <a16:creationId xmlns:a16="http://schemas.microsoft.com/office/drawing/2014/main" id="{B03489FC-4EC0-4D7F-6007-A98BB2757E90}"/>
              </a:ext>
            </a:extLst>
          </p:cNvPr>
          <p:cNvSpPr>
            <a:spLocks noChangeAspect="1"/>
          </p:cNvSpPr>
          <p:nvPr/>
        </p:nvSpPr>
        <p:spPr>
          <a:xfrm rot="10800000">
            <a:off x="8283232" y="3778230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37C5BE9D-CCA1-DA91-6E35-57CE69D8AE44}"/>
              </a:ext>
            </a:extLst>
          </p:cNvPr>
          <p:cNvSpPr txBox="1">
            <a:spLocks/>
          </p:cNvSpPr>
          <p:nvPr/>
        </p:nvSpPr>
        <p:spPr>
          <a:xfrm>
            <a:off x="6418707" y="3332050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19/20</a:t>
            </a:r>
          </a:p>
        </p:txBody>
      </p:sp>
      <p:sp>
        <p:nvSpPr>
          <p:cNvPr id="35" name="Porsche_CO-Triangle">
            <a:extLst>
              <a:ext uri="{FF2B5EF4-FFF2-40B4-BE49-F238E27FC236}">
                <a16:creationId xmlns:a16="http://schemas.microsoft.com/office/drawing/2014/main" id="{A3071C2F-CA00-54D9-C89B-C824FB7BB45A}"/>
              </a:ext>
            </a:extLst>
          </p:cNvPr>
          <p:cNvSpPr>
            <a:spLocks noChangeAspect="1"/>
          </p:cNvSpPr>
          <p:nvPr/>
        </p:nvSpPr>
        <p:spPr>
          <a:xfrm>
            <a:off x="6734679" y="3637154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6" name="Porsche_CO-Triangle">
            <a:extLst>
              <a:ext uri="{FF2B5EF4-FFF2-40B4-BE49-F238E27FC236}">
                <a16:creationId xmlns:a16="http://schemas.microsoft.com/office/drawing/2014/main" id="{9972321D-3E2E-AB0D-0C4E-19F60EA38E6B}"/>
              </a:ext>
            </a:extLst>
          </p:cNvPr>
          <p:cNvSpPr>
            <a:spLocks noChangeAspect="1"/>
          </p:cNvSpPr>
          <p:nvPr/>
        </p:nvSpPr>
        <p:spPr>
          <a:xfrm>
            <a:off x="9831785" y="3632276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7" name="Textplatzhalter 5">
            <a:extLst>
              <a:ext uri="{FF2B5EF4-FFF2-40B4-BE49-F238E27FC236}">
                <a16:creationId xmlns:a16="http://schemas.microsoft.com/office/drawing/2014/main" id="{C35348F4-B234-9166-7DF7-96E1A121F814}"/>
              </a:ext>
            </a:extLst>
          </p:cNvPr>
          <p:cNvSpPr txBox="1">
            <a:spLocks/>
          </p:cNvSpPr>
          <p:nvPr/>
        </p:nvSpPr>
        <p:spPr>
          <a:xfrm>
            <a:off x="9451906" y="3340242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21/22</a:t>
            </a:r>
          </a:p>
        </p:txBody>
      </p:sp>
      <p:sp>
        <p:nvSpPr>
          <p:cNvPr id="38" name="Porsche_CO-Triangle">
            <a:extLst>
              <a:ext uri="{FF2B5EF4-FFF2-40B4-BE49-F238E27FC236}">
                <a16:creationId xmlns:a16="http://schemas.microsoft.com/office/drawing/2014/main" id="{420B6602-A392-D5C1-19D9-36A69C1C5CD7}"/>
              </a:ext>
            </a:extLst>
          </p:cNvPr>
          <p:cNvSpPr>
            <a:spLocks noChangeAspect="1"/>
          </p:cNvSpPr>
          <p:nvPr/>
        </p:nvSpPr>
        <p:spPr>
          <a:xfrm rot="10800000">
            <a:off x="11380341" y="3766488"/>
            <a:ext cx="177394" cy="88697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F999A437-4EDA-9C48-662B-F244FD5112EB}"/>
              </a:ext>
            </a:extLst>
          </p:cNvPr>
          <p:cNvSpPr txBox="1">
            <a:spLocks/>
          </p:cNvSpPr>
          <p:nvPr/>
        </p:nvSpPr>
        <p:spPr>
          <a:xfrm>
            <a:off x="11058898" y="3880406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/>
              <a:t>GJ22/23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97B7F320-C2C0-58A4-1C12-FF4978C8F946}"/>
              </a:ext>
            </a:extLst>
          </p:cNvPr>
          <p:cNvGrpSpPr/>
          <p:nvPr/>
        </p:nvGrpSpPr>
        <p:grpSpPr>
          <a:xfrm>
            <a:off x="5674022" y="4846142"/>
            <a:ext cx="3835893" cy="769449"/>
            <a:chOff x="6022198" y="5305900"/>
            <a:chExt cx="3835893" cy="769449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3DFE7DF-B23F-BBFF-2141-522FD6F56899}"/>
                </a:ext>
              </a:extLst>
            </p:cNvPr>
            <p:cNvSpPr/>
            <p:nvPr/>
          </p:nvSpPr>
          <p:spPr>
            <a:xfrm>
              <a:off x="6022198" y="5305900"/>
              <a:ext cx="3835893" cy="76944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124184483">
                    <a:custGeom>
                      <a:avLst/>
                      <a:gdLst>
                        <a:gd name="connsiteX0" fmla="*/ 0 w 3812119"/>
                        <a:gd name="connsiteY0" fmla="*/ 0 h 769449"/>
                        <a:gd name="connsiteX1" fmla="*/ 3812119 w 3812119"/>
                        <a:gd name="connsiteY1" fmla="*/ 0 h 769449"/>
                        <a:gd name="connsiteX2" fmla="*/ 3812119 w 3812119"/>
                        <a:gd name="connsiteY2" fmla="*/ 769449 h 769449"/>
                        <a:gd name="connsiteX3" fmla="*/ 0 w 3812119"/>
                        <a:gd name="connsiteY3" fmla="*/ 769449 h 769449"/>
                        <a:gd name="connsiteX4" fmla="*/ 0 w 3812119"/>
                        <a:gd name="connsiteY4" fmla="*/ 0 h 7694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812119" h="769449" fill="none" extrusionOk="0">
                          <a:moveTo>
                            <a:pt x="0" y="0"/>
                          </a:moveTo>
                          <a:cubicBezTo>
                            <a:pt x="405889" y="-136391"/>
                            <a:pt x="2919932" y="-106146"/>
                            <a:pt x="3812119" y="0"/>
                          </a:cubicBezTo>
                          <a:cubicBezTo>
                            <a:pt x="3748076" y="122366"/>
                            <a:pt x="3875591" y="401928"/>
                            <a:pt x="3812119" y="769449"/>
                          </a:cubicBezTo>
                          <a:cubicBezTo>
                            <a:pt x="3004712" y="738422"/>
                            <a:pt x="1748441" y="742115"/>
                            <a:pt x="0" y="769449"/>
                          </a:cubicBezTo>
                          <a:cubicBezTo>
                            <a:pt x="52967" y="602650"/>
                            <a:pt x="30032" y="228442"/>
                            <a:pt x="0" y="0"/>
                          </a:cubicBezTo>
                          <a:close/>
                        </a:path>
                        <a:path w="3812119" h="769449" stroke="0" extrusionOk="0">
                          <a:moveTo>
                            <a:pt x="0" y="0"/>
                          </a:moveTo>
                          <a:cubicBezTo>
                            <a:pt x="812178" y="-10935"/>
                            <a:pt x="2112756" y="-144083"/>
                            <a:pt x="3812119" y="0"/>
                          </a:cubicBezTo>
                          <a:cubicBezTo>
                            <a:pt x="3834143" y="202460"/>
                            <a:pt x="3806284" y="604908"/>
                            <a:pt x="3812119" y="769449"/>
                          </a:cubicBezTo>
                          <a:cubicBezTo>
                            <a:pt x="2079425" y="865384"/>
                            <a:pt x="1220592" y="775512"/>
                            <a:pt x="0" y="769449"/>
                          </a:cubicBezTo>
                          <a:cubicBezTo>
                            <a:pt x="-26058" y="456673"/>
                            <a:pt x="-61983" y="328951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4377D32D-4301-BF89-6ED7-8EACC50BDA89}"/>
                </a:ext>
              </a:extLst>
            </p:cNvPr>
            <p:cNvSpPr txBox="1"/>
            <p:nvPr/>
          </p:nvSpPr>
          <p:spPr>
            <a:xfrm>
              <a:off x="6904333" y="5406282"/>
              <a:ext cx="290542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600"/>
                <a:t>Innovationswerkstatt als Teile Generator</a:t>
              </a:r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125313FF-87D8-F16D-BB4C-CD5FFD3352F2}"/>
                </a:ext>
              </a:extLst>
            </p:cNvPr>
            <p:cNvGrpSpPr/>
            <p:nvPr/>
          </p:nvGrpSpPr>
          <p:grpSpPr>
            <a:xfrm>
              <a:off x="6214251" y="5414904"/>
              <a:ext cx="447986" cy="492443"/>
              <a:chOff x="6780058" y="5348926"/>
              <a:chExt cx="575245" cy="614072"/>
            </a:xfrm>
          </p:grpSpPr>
          <p:sp>
            <p:nvSpPr>
              <p:cNvPr id="43" name="Freeform 729">
                <a:extLst>
                  <a:ext uri="{FF2B5EF4-FFF2-40B4-BE49-F238E27FC236}">
                    <a16:creationId xmlns:a16="http://schemas.microsoft.com/office/drawing/2014/main" id="{5A3D2783-EA9C-0EFE-396B-9ECE6C979B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0058" y="5573653"/>
                <a:ext cx="77869" cy="27967"/>
              </a:xfrm>
              <a:custGeom>
                <a:avLst/>
                <a:gdLst>
                  <a:gd name="T0" fmla="*/ 102 w 569"/>
                  <a:gd name="T1" fmla="*/ 0 h 204"/>
                  <a:gd name="T2" fmla="*/ 468 w 569"/>
                  <a:gd name="T3" fmla="*/ 0 h 204"/>
                  <a:gd name="T4" fmla="*/ 494 w 569"/>
                  <a:gd name="T5" fmla="*/ 4 h 204"/>
                  <a:gd name="T6" fmla="*/ 518 w 569"/>
                  <a:gd name="T7" fmla="*/ 14 h 204"/>
                  <a:gd name="T8" fmla="*/ 540 w 569"/>
                  <a:gd name="T9" fmla="*/ 30 h 204"/>
                  <a:gd name="T10" fmla="*/ 555 w 569"/>
                  <a:gd name="T11" fmla="*/ 50 h 204"/>
                  <a:gd name="T12" fmla="*/ 566 w 569"/>
                  <a:gd name="T13" fmla="*/ 76 h 204"/>
                  <a:gd name="T14" fmla="*/ 569 w 569"/>
                  <a:gd name="T15" fmla="*/ 102 h 204"/>
                  <a:gd name="T16" fmla="*/ 566 w 569"/>
                  <a:gd name="T17" fmla="*/ 129 h 204"/>
                  <a:gd name="T18" fmla="*/ 555 w 569"/>
                  <a:gd name="T19" fmla="*/ 153 h 204"/>
                  <a:gd name="T20" fmla="*/ 540 w 569"/>
                  <a:gd name="T21" fmla="*/ 174 h 204"/>
                  <a:gd name="T22" fmla="*/ 518 w 569"/>
                  <a:gd name="T23" fmla="*/ 190 h 204"/>
                  <a:gd name="T24" fmla="*/ 494 w 569"/>
                  <a:gd name="T25" fmla="*/ 200 h 204"/>
                  <a:gd name="T26" fmla="*/ 468 w 569"/>
                  <a:gd name="T27" fmla="*/ 204 h 204"/>
                  <a:gd name="T28" fmla="*/ 102 w 569"/>
                  <a:gd name="T29" fmla="*/ 204 h 204"/>
                  <a:gd name="T30" fmla="*/ 75 w 569"/>
                  <a:gd name="T31" fmla="*/ 200 h 204"/>
                  <a:gd name="T32" fmla="*/ 51 w 569"/>
                  <a:gd name="T33" fmla="*/ 190 h 204"/>
                  <a:gd name="T34" fmla="*/ 29 w 569"/>
                  <a:gd name="T35" fmla="*/ 174 h 204"/>
                  <a:gd name="T36" fmla="*/ 14 w 569"/>
                  <a:gd name="T37" fmla="*/ 153 h 204"/>
                  <a:gd name="T38" fmla="*/ 4 w 569"/>
                  <a:gd name="T39" fmla="*/ 129 h 204"/>
                  <a:gd name="T40" fmla="*/ 0 w 569"/>
                  <a:gd name="T41" fmla="*/ 102 h 204"/>
                  <a:gd name="T42" fmla="*/ 4 w 569"/>
                  <a:gd name="T43" fmla="*/ 76 h 204"/>
                  <a:gd name="T44" fmla="*/ 14 w 569"/>
                  <a:gd name="T45" fmla="*/ 50 h 204"/>
                  <a:gd name="T46" fmla="*/ 29 w 569"/>
                  <a:gd name="T47" fmla="*/ 30 h 204"/>
                  <a:gd name="T48" fmla="*/ 51 w 569"/>
                  <a:gd name="T49" fmla="*/ 14 h 204"/>
                  <a:gd name="T50" fmla="*/ 75 w 569"/>
                  <a:gd name="T51" fmla="*/ 4 h 204"/>
                  <a:gd name="T52" fmla="*/ 102 w 569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69" h="204">
                    <a:moveTo>
                      <a:pt x="102" y="0"/>
                    </a:moveTo>
                    <a:lnTo>
                      <a:pt x="468" y="0"/>
                    </a:lnTo>
                    <a:lnTo>
                      <a:pt x="494" y="4"/>
                    </a:lnTo>
                    <a:lnTo>
                      <a:pt x="518" y="14"/>
                    </a:lnTo>
                    <a:lnTo>
                      <a:pt x="540" y="30"/>
                    </a:lnTo>
                    <a:lnTo>
                      <a:pt x="555" y="50"/>
                    </a:lnTo>
                    <a:lnTo>
                      <a:pt x="566" y="76"/>
                    </a:lnTo>
                    <a:lnTo>
                      <a:pt x="569" y="102"/>
                    </a:lnTo>
                    <a:lnTo>
                      <a:pt x="566" y="129"/>
                    </a:lnTo>
                    <a:lnTo>
                      <a:pt x="555" y="153"/>
                    </a:lnTo>
                    <a:lnTo>
                      <a:pt x="540" y="174"/>
                    </a:lnTo>
                    <a:lnTo>
                      <a:pt x="518" y="190"/>
                    </a:lnTo>
                    <a:lnTo>
                      <a:pt x="494" y="200"/>
                    </a:lnTo>
                    <a:lnTo>
                      <a:pt x="468" y="204"/>
                    </a:lnTo>
                    <a:lnTo>
                      <a:pt x="102" y="204"/>
                    </a:lnTo>
                    <a:lnTo>
                      <a:pt x="75" y="200"/>
                    </a:lnTo>
                    <a:lnTo>
                      <a:pt x="51" y="190"/>
                    </a:lnTo>
                    <a:lnTo>
                      <a:pt x="29" y="174"/>
                    </a:lnTo>
                    <a:lnTo>
                      <a:pt x="14" y="153"/>
                    </a:lnTo>
                    <a:lnTo>
                      <a:pt x="4" y="129"/>
                    </a:lnTo>
                    <a:lnTo>
                      <a:pt x="0" y="102"/>
                    </a:lnTo>
                    <a:lnTo>
                      <a:pt x="4" y="76"/>
                    </a:lnTo>
                    <a:lnTo>
                      <a:pt x="14" y="50"/>
                    </a:lnTo>
                    <a:lnTo>
                      <a:pt x="29" y="30"/>
                    </a:lnTo>
                    <a:lnTo>
                      <a:pt x="51" y="14"/>
                    </a:lnTo>
                    <a:lnTo>
                      <a:pt x="75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4" name="Freeform 730">
                <a:extLst>
                  <a:ext uri="{FF2B5EF4-FFF2-40B4-BE49-F238E27FC236}">
                    <a16:creationId xmlns:a16="http://schemas.microsoft.com/office/drawing/2014/main" id="{5AD2C46F-CE3C-D588-C5BB-FB6DC2B7D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7434" y="5573653"/>
                <a:ext cx="77869" cy="27967"/>
              </a:xfrm>
              <a:custGeom>
                <a:avLst/>
                <a:gdLst>
                  <a:gd name="T0" fmla="*/ 102 w 570"/>
                  <a:gd name="T1" fmla="*/ 0 h 204"/>
                  <a:gd name="T2" fmla="*/ 469 w 570"/>
                  <a:gd name="T3" fmla="*/ 0 h 204"/>
                  <a:gd name="T4" fmla="*/ 496 w 570"/>
                  <a:gd name="T5" fmla="*/ 4 h 204"/>
                  <a:gd name="T6" fmla="*/ 520 w 570"/>
                  <a:gd name="T7" fmla="*/ 14 h 204"/>
                  <a:gd name="T8" fmla="*/ 540 w 570"/>
                  <a:gd name="T9" fmla="*/ 30 h 204"/>
                  <a:gd name="T10" fmla="*/ 556 w 570"/>
                  <a:gd name="T11" fmla="*/ 50 h 204"/>
                  <a:gd name="T12" fmla="*/ 566 w 570"/>
                  <a:gd name="T13" fmla="*/ 76 h 204"/>
                  <a:gd name="T14" fmla="*/ 570 w 570"/>
                  <a:gd name="T15" fmla="*/ 102 h 204"/>
                  <a:gd name="T16" fmla="*/ 566 w 570"/>
                  <a:gd name="T17" fmla="*/ 129 h 204"/>
                  <a:gd name="T18" fmla="*/ 556 w 570"/>
                  <a:gd name="T19" fmla="*/ 153 h 204"/>
                  <a:gd name="T20" fmla="*/ 540 w 570"/>
                  <a:gd name="T21" fmla="*/ 174 h 204"/>
                  <a:gd name="T22" fmla="*/ 520 w 570"/>
                  <a:gd name="T23" fmla="*/ 190 h 204"/>
                  <a:gd name="T24" fmla="*/ 496 w 570"/>
                  <a:gd name="T25" fmla="*/ 200 h 204"/>
                  <a:gd name="T26" fmla="*/ 469 w 570"/>
                  <a:gd name="T27" fmla="*/ 204 h 204"/>
                  <a:gd name="T28" fmla="*/ 102 w 570"/>
                  <a:gd name="T29" fmla="*/ 204 h 204"/>
                  <a:gd name="T30" fmla="*/ 75 w 570"/>
                  <a:gd name="T31" fmla="*/ 200 h 204"/>
                  <a:gd name="T32" fmla="*/ 51 w 570"/>
                  <a:gd name="T33" fmla="*/ 190 h 204"/>
                  <a:gd name="T34" fmla="*/ 31 w 570"/>
                  <a:gd name="T35" fmla="*/ 174 h 204"/>
                  <a:gd name="T36" fmla="*/ 14 w 570"/>
                  <a:gd name="T37" fmla="*/ 153 h 204"/>
                  <a:gd name="T38" fmla="*/ 4 w 570"/>
                  <a:gd name="T39" fmla="*/ 129 h 204"/>
                  <a:gd name="T40" fmla="*/ 0 w 570"/>
                  <a:gd name="T41" fmla="*/ 102 h 204"/>
                  <a:gd name="T42" fmla="*/ 4 w 570"/>
                  <a:gd name="T43" fmla="*/ 76 h 204"/>
                  <a:gd name="T44" fmla="*/ 14 w 570"/>
                  <a:gd name="T45" fmla="*/ 50 h 204"/>
                  <a:gd name="T46" fmla="*/ 31 w 570"/>
                  <a:gd name="T47" fmla="*/ 30 h 204"/>
                  <a:gd name="T48" fmla="*/ 51 w 570"/>
                  <a:gd name="T49" fmla="*/ 14 h 204"/>
                  <a:gd name="T50" fmla="*/ 75 w 570"/>
                  <a:gd name="T51" fmla="*/ 4 h 204"/>
                  <a:gd name="T52" fmla="*/ 102 w 570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70" h="204">
                    <a:moveTo>
                      <a:pt x="102" y="0"/>
                    </a:moveTo>
                    <a:lnTo>
                      <a:pt x="469" y="0"/>
                    </a:lnTo>
                    <a:lnTo>
                      <a:pt x="496" y="4"/>
                    </a:lnTo>
                    <a:lnTo>
                      <a:pt x="520" y="14"/>
                    </a:lnTo>
                    <a:lnTo>
                      <a:pt x="540" y="30"/>
                    </a:lnTo>
                    <a:lnTo>
                      <a:pt x="556" y="50"/>
                    </a:lnTo>
                    <a:lnTo>
                      <a:pt x="566" y="76"/>
                    </a:lnTo>
                    <a:lnTo>
                      <a:pt x="570" y="102"/>
                    </a:lnTo>
                    <a:lnTo>
                      <a:pt x="566" y="129"/>
                    </a:lnTo>
                    <a:lnTo>
                      <a:pt x="556" y="153"/>
                    </a:lnTo>
                    <a:lnTo>
                      <a:pt x="540" y="174"/>
                    </a:lnTo>
                    <a:lnTo>
                      <a:pt x="520" y="190"/>
                    </a:lnTo>
                    <a:lnTo>
                      <a:pt x="496" y="200"/>
                    </a:lnTo>
                    <a:lnTo>
                      <a:pt x="469" y="204"/>
                    </a:lnTo>
                    <a:lnTo>
                      <a:pt x="102" y="204"/>
                    </a:lnTo>
                    <a:lnTo>
                      <a:pt x="75" y="200"/>
                    </a:lnTo>
                    <a:lnTo>
                      <a:pt x="51" y="190"/>
                    </a:lnTo>
                    <a:lnTo>
                      <a:pt x="31" y="174"/>
                    </a:lnTo>
                    <a:lnTo>
                      <a:pt x="14" y="153"/>
                    </a:lnTo>
                    <a:lnTo>
                      <a:pt x="4" y="129"/>
                    </a:lnTo>
                    <a:lnTo>
                      <a:pt x="0" y="102"/>
                    </a:lnTo>
                    <a:lnTo>
                      <a:pt x="4" y="76"/>
                    </a:lnTo>
                    <a:lnTo>
                      <a:pt x="14" y="50"/>
                    </a:lnTo>
                    <a:lnTo>
                      <a:pt x="31" y="30"/>
                    </a:lnTo>
                    <a:lnTo>
                      <a:pt x="51" y="14"/>
                    </a:lnTo>
                    <a:lnTo>
                      <a:pt x="75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5" name="Freeform 731">
                <a:extLst>
                  <a:ext uri="{FF2B5EF4-FFF2-40B4-BE49-F238E27FC236}">
                    <a16:creationId xmlns:a16="http://schemas.microsoft.com/office/drawing/2014/main" id="{1D6443A5-A6DB-27C8-FFF0-9F0A7B7DF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1476" y="5749681"/>
                <a:ext cx="64160" cy="64708"/>
              </a:xfrm>
              <a:custGeom>
                <a:avLst/>
                <a:gdLst>
                  <a:gd name="T0" fmla="*/ 357 w 469"/>
                  <a:gd name="T1" fmla="*/ 0 h 469"/>
                  <a:gd name="T2" fmla="*/ 379 w 469"/>
                  <a:gd name="T3" fmla="*/ 0 h 469"/>
                  <a:gd name="T4" fmla="*/ 400 w 469"/>
                  <a:gd name="T5" fmla="*/ 4 h 469"/>
                  <a:gd name="T6" fmla="*/ 422 w 469"/>
                  <a:gd name="T7" fmla="*/ 14 h 469"/>
                  <a:gd name="T8" fmla="*/ 440 w 469"/>
                  <a:gd name="T9" fmla="*/ 28 h 469"/>
                  <a:gd name="T10" fmla="*/ 454 w 469"/>
                  <a:gd name="T11" fmla="*/ 47 h 469"/>
                  <a:gd name="T12" fmla="*/ 464 w 469"/>
                  <a:gd name="T13" fmla="*/ 67 h 469"/>
                  <a:gd name="T14" fmla="*/ 469 w 469"/>
                  <a:gd name="T15" fmla="*/ 89 h 469"/>
                  <a:gd name="T16" fmla="*/ 469 w 469"/>
                  <a:gd name="T17" fmla="*/ 112 h 469"/>
                  <a:gd name="T18" fmla="*/ 464 w 469"/>
                  <a:gd name="T19" fmla="*/ 134 h 469"/>
                  <a:gd name="T20" fmla="*/ 454 w 469"/>
                  <a:gd name="T21" fmla="*/ 154 h 469"/>
                  <a:gd name="T22" fmla="*/ 440 w 469"/>
                  <a:gd name="T23" fmla="*/ 172 h 469"/>
                  <a:gd name="T24" fmla="*/ 173 w 469"/>
                  <a:gd name="T25" fmla="*/ 438 h 469"/>
                  <a:gd name="T26" fmla="*/ 158 w 469"/>
                  <a:gd name="T27" fmla="*/ 452 h 469"/>
                  <a:gd name="T28" fmla="*/ 140 w 469"/>
                  <a:gd name="T29" fmla="*/ 461 h 469"/>
                  <a:gd name="T30" fmla="*/ 121 w 469"/>
                  <a:gd name="T31" fmla="*/ 466 h 469"/>
                  <a:gd name="T32" fmla="*/ 102 w 469"/>
                  <a:gd name="T33" fmla="*/ 469 h 469"/>
                  <a:gd name="T34" fmla="*/ 82 w 469"/>
                  <a:gd name="T35" fmla="*/ 466 h 469"/>
                  <a:gd name="T36" fmla="*/ 64 w 469"/>
                  <a:gd name="T37" fmla="*/ 461 h 469"/>
                  <a:gd name="T38" fmla="*/ 46 w 469"/>
                  <a:gd name="T39" fmla="*/ 452 h 469"/>
                  <a:gd name="T40" fmla="*/ 29 w 469"/>
                  <a:gd name="T41" fmla="*/ 438 h 469"/>
                  <a:gd name="T42" fmla="*/ 15 w 469"/>
                  <a:gd name="T43" fmla="*/ 420 h 469"/>
                  <a:gd name="T44" fmla="*/ 5 w 469"/>
                  <a:gd name="T45" fmla="*/ 400 h 469"/>
                  <a:gd name="T46" fmla="*/ 0 w 469"/>
                  <a:gd name="T47" fmla="*/ 378 h 469"/>
                  <a:gd name="T48" fmla="*/ 0 w 469"/>
                  <a:gd name="T49" fmla="*/ 355 h 469"/>
                  <a:gd name="T50" fmla="*/ 5 w 469"/>
                  <a:gd name="T51" fmla="*/ 334 h 469"/>
                  <a:gd name="T52" fmla="*/ 15 w 469"/>
                  <a:gd name="T53" fmla="*/ 313 h 469"/>
                  <a:gd name="T54" fmla="*/ 29 w 469"/>
                  <a:gd name="T55" fmla="*/ 294 h 469"/>
                  <a:gd name="T56" fmla="*/ 296 w 469"/>
                  <a:gd name="T57" fmla="*/ 28 h 469"/>
                  <a:gd name="T58" fmla="*/ 315 w 469"/>
                  <a:gd name="T59" fmla="*/ 14 h 469"/>
                  <a:gd name="T60" fmla="*/ 335 w 469"/>
                  <a:gd name="T61" fmla="*/ 4 h 469"/>
                  <a:gd name="T62" fmla="*/ 357 w 469"/>
                  <a:gd name="T63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9" h="469">
                    <a:moveTo>
                      <a:pt x="357" y="0"/>
                    </a:moveTo>
                    <a:lnTo>
                      <a:pt x="379" y="0"/>
                    </a:lnTo>
                    <a:lnTo>
                      <a:pt x="400" y="4"/>
                    </a:lnTo>
                    <a:lnTo>
                      <a:pt x="422" y="14"/>
                    </a:lnTo>
                    <a:lnTo>
                      <a:pt x="440" y="28"/>
                    </a:lnTo>
                    <a:lnTo>
                      <a:pt x="454" y="47"/>
                    </a:lnTo>
                    <a:lnTo>
                      <a:pt x="464" y="67"/>
                    </a:lnTo>
                    <a:lnTo>
                      <a:pt x="469" y="89"/>
                    </a:lnTo>
                    <a:lnTo>
                      <a:pt x="469" y="112"/>
                    </a:lnTo>
                    <a:lnTo>
                      <a:pt x="464" y="134"/>
                    </a:lnTo>
                    <a:lnTo>
                      <a:pt x="454" y="154"/>
                    </a:lnTo>
                    <a:lnTo>
                      <a:pt x="440" y="172"/>
                    </a:lnTo>
                    <a:lnTo>
                      <a:pt x="173" y="438"/>
                    </a:lnTo>
                    <a:lnTo>
                      <a:pt x="158" y="452"/>
                    </a:lnTo>
                    <a:lnTo>
                      <a:pt x="140" y="461"/>
                    </a:lnTo>
                    <a:lnTo>
                      <a:pt x="121" y="466"/>
                    </a:lnTo>
                    <a:lnTo>
                      <a:pt x="102" y="469"/>
                    </a:lnTo>
                    <a:lnTo>
                      <a:pt x="82" y="466"/>
                    </a:lnTo>
                    <a:lnTo>
                      <a:pt x="64" y="461"/>
                    </a:lnTo>
                    <a:lnTo>
                      <a:pt x="46" y="452"/>
                    </a:lnTo>
                    <a:lnTo>
                      <a:pt x="29" y="438"/>
                    </a:lnTo>
                    <a:lnTo>
                      <a:pt x="15" y="420"/>
                    </a:lnTo>
                    <a:lnTo>
                      <a:pt x="5" y="400"/>
                    </a:lnTo>
                    <a:lnTo>
                      <a:pt x="0" y="378"/>
                    </a:lnTo>
                    <a:lnTo>
                      <a:pt x="0" y="355"/>
                    </a:lnTo>
                    <a:lnTo>
                      <a:pt x="5" y="334"/>
                    </a:lnTo>
                    <a:lnTo>
                      <a:pt x="15" y="313"/>
                    </a:lnTo>
                    <a:lnTo>
                      <a:pt x="29" y="294"/>
                    </a:lnTo>
                    <a:lnTo>
                      <a:pt x="296" y="28"/>
                    </a:lnTo>
                    <a:lnTo>
                      <a:pt x="315" y="14"/>
                    </a:lnTo>
                    <a:lnTo>
                      <a:pt x="335" y="4"/>
                    </a:lnTo>
                    <a:lnTo>
                      <a:pt x="357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6" name="Freeform 732">
                <a:extLst>
                  <a:ext uri="{FF2B5EF4-FFF2-40B4-BE49-F238E27FC236}">
                    <a16:creationId xmlns:a16="http://schemas.microsoft.com/office/drawing/2014/main" id="{E96632D7-23F5-B336-17A4-AA8E842DF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8742" y="5359526"/>
                <a:ext cx="63063" cy="63611"/>
              </a:xfrm>
              <a:custGeom>
                <a:avLst/>
                <a:gdLst>
                  <a:gd name="T0" fmla="*/ 349 w 461"/>
                  <a:gd name="T1" fmla="*/ 0 h 462"/>
                  <a:gd name="T2" fmla="*/ 371 w 461"/>
                  <a:gd name="T3" fmla="*/ 0 h 462"/>
                  <a:gd name="T4" fmla="*/ 393 w 461"/>
                  <a:gd name="T5" fmla="*/ 5 h 462"/>
                  <a:gd name="T6" fmla="*/ 414 w 461"/>
                  <a:gd name="T7" fmla="*/ 15 h 462"/>
                  <a:gd name="T8" fmla="*/ 432 w 461"/>
                  <a:gd name="T9" fmla="*/ 29 h 462"/>
                  <a:gd name="T10" fmla="*/ 446 w 461"/>
                  <a:gd name="T11" fmla="*/ 48 h 462"/>
                  <a:gd name="T12" fmla="*/ 456 w 461"/>
                  <a:gd name="T13" fmla="*/ 69 h 462"/>
                  <a:gd name="T14" fmla="*/ 461 w 461"/>
                  <a:gd name="T15" fmla="*/ 90 h 462"/>
                  <a:gd name="T16" fmla="*/ 461 w 461"/>
                  <a:gd name="T17" fmla="*/ 113 h 462"/>
                  <a:gd name="T18" fmla="*/ 456 w 461"/>
                  <a:gd name="T19" fmla="*/ 135 h 462"/>
                  <a:gd name="T20" fmla="*/ 446 w 461"/>
                  <a:gd name="T21" fmla="*/ 155 h 462"/>
                  <a:gd name="T22" fmla="*/ 432 w 461"/>
                  <a:gd name="T23" fmla="*/ 173 h 462"/>
                  <a:gd name="T24" fmla="*/ 174 w 461"/>
                  <a:gd name="T25" fmla="*/ 433 h 462"/>
                  <a:gd name="T26" fmla="*/ 157 w 461"/>
                  <a:gd name="T27" fmla="*/ 446 h 462"/>
                  <a:gd name="T28" fmla="*/ 139 w 461"/>
                  <a:gd name="T29" fmla="*/ 455 h 462"/>
                  <a:gd name="T30" fmla="*/ 121 w 461"/>
                  <a:gd name="T31" fmla="*/ 460 h 462"/>
                  <a:gd name="T32" fmla="*/ 101 w 461"/>
                  <a:gd name="T33" fmla="*/ 462 h 462"/>
                  <a:gd name="T34" fmla="*/ 82 w 461"/>
                  <a:gd name="T35" fmla="*/ 460 h 462"/>
                  <a:gd name="T36" fmla="*/ 63 w 461"/>
                  <a:gd name="T37" fmla="*/ 455 h 462"/>
                  <a:gd name="T38" fmla="*/ 45 w 461"/>
                  <a:gd name="T39" fmla="*/ 446 h 462"/>
                  <a:gd name="T40" fmla="*/ 30 w 461"/>
                  <a:gd name="T41" fmla="*/ 433 h 462"/>
                  <a:gd name="T42" fmla="*/ 14 w 461"/>
                  <a:gd name="T43" fmla="*/ 414 h 462"/>
                  <a:gd name="T44" fmla="*/ 5 w 461"/>
                  <a:gd name="T45" fmla="*/ 394 h 462"/>
                  <a:gd name="T46" fmla="*/ 0 w 461"/>
                  <a:gd name="T47" fmla="*/ 372 h 462"/>
                  <a:gd name="T48" fmla="*/ 0 w 461"/>
                  <a:gd name="T49" fmla="*/ 349 h 462"/>
                  <a:gd name="T50" fmla="*/ 5 w 461"/>
                  <a:gd name="T51" fmla="*/ 327 h 462"/>
                  <a:gd name="T52" fmla="*/ 14 w 461"/>
                  <a:gd name="T53" fmla="*/ 307 h 462"/>
                  <a:gd name="T54" fmla="*/ 30 w 461"/>
                  <a:gd name="T55" fmla="*/ 289 h 462"/>
                  <a:gd name="T56" fmla="*/ 288 w 461"/>
                  <a:gd name="T57" fmla="*/ 29 h 462"/>
                  <a:gd name="T58" fmla="*/ 307 w 461"/>
                  <a:gd name="T59" fmla="*/ 15 h 462"/>
                  <a:gd name="T60" fmla="*/ 328 w 461"/>
                  <a:gd name="T61" fmla="*/ 5 h 462"/>
                  <a:gd name="T62" fmla="*/ 349 w 461"/>
                  <a:gd name="T63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1" h="462">
                    <a:moveTo>
                      <a:pt x="349" y="0"/>
                    </a:moveTo>
                    <a:lnTo>
                      <a:pt x="371" y="0"/>
                    </a:lnTo>
                    <a:lnTo>
                      <a:pt x="393" y="5"/>
                    </a:lnTo>
                    <a:lnTo>
                      <a:pt x="414" y="15"/>
                    </a:lnTo>
                    <a:lnTo>
                      <a:pt x="432" y="29"/>
                    </a:lnTo>
                    <a:lnTo>
                      <a:pt x="446" y="48"/>
                    </a:lnTo>
                    <a:lnTo>
                      <a:pt x="456" y="69"/>
                    </a:lnTo>
                    <a:lnTo>
                      <a:pt x="461" y="90"/>
                    </a:lnTo>
                    <a:lnTo>
                      <a:pt x="461" y="113"/>
                    </a:lnTo>
                    <a:lnTo>
                      <a:pt x="456" y="135"/>
                    </a:lnTo>
                    <a:lnTo>
                      <a:pt x="446" y="155"/>
                    </a:lnTo>
                    <a:lnTo>
                      <a:pt x="432" y="173"/>
                    </a:lnTo>
                    <a:lnTo>
                      <a:pt x="174" y="433"/>
                    </a:lnTo>
                    <a:lnTo>
                      <a:pt x="157" y="446"/>
                    </a:lnTo>
                    <a:lnTo>
                      <a:pt x="139" y="455"/>
                    </a:lnTo>
                    <a:lnTo>
                      <a:pt x="121" y="460"/>
                    </a:lnTo>
                    <a:lnTo>
                      <a:pt x="101" y="462"/>
                    </a:lnTo>
                    <a:lnTo>
                      <a:pt x="82" y="460"/>
                    </a:lnTo>
                    <a:lnTo>
                      <a:pt x="63" y="455"/>
                    </a:lnTo>
                    <a:lnTo>
                      <a:pt x="45" y="446"/>
                    </a:lnTo>
                    <a:lnTo>
                      <a:pt x="30" y="433"/>
                    </a:lnTo>
                    <a:lnTo>
                      <a:pt x="14" y="414"/>
                    </a:lnTo>
                    <a:lnTo>
                      <a:pt x="5" y="394"/>
                    </a:lnTo>
                    <a:lnTo>
                      <a:pt x="0" y="372"/>
                    </a:lnTo>
                    <a:lnTo>
                      <a:pt x="0" y="349"/>
                    </a:lnTo>
                    <a:lnTo>
                      <a:pt x="5" y="327"/>
                    </a:lnTo>
                    <a:lnTo>
                      <a:pt x="14" y="307"/>
                    </a:lnTo>
                    <a:lnTo>
                      <a:pt x="30" y="289"/>
                    </a:lnTo>
                    <a:lnTo>
                      <a:pt x="288" y="29"/>
                    </a:lnTo>
                    <a:lnTo>
                      <a:pt x="307" y="15"/>
                    </a:lnTo>
                    <a:lnTo>
                      <a:pt x="328" y="5"/>
                    </a:lnTo>
                    <a:lnTo>
                      <a:pt x="349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7" name="Freeform 733">
                <a:extLst>
                  <a:ext uri="{FF2B5EF4-FFF2-40B4-BE49-F238E27FC236}">
                    <a16:creationId xmlns:a16="http://schemas.microsoft.com/office/drawing/2014/main" id="{F2947605-F264-B296-5D4B-FBEED08DAE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2602" y="5348926"/>
                <a:ext cx="63611" cy="63611"/>
              </a:xfrm>
              <a:custGeom>
                <a:avLst/>
                <a:gdLst>
                  <a:gd name="T0" fmla="*/ 112 w 461"/>
                  <a:gd name="T1" fmla="*/ 0 h 461"/>
                  <a:gd name="T2" fmla="*/ 135 w 461"/>
                  <a:gd name="T3" fmla="*/ 4 h 461"/>
                  <a:gd name="T4" fmla="*/ 156 w 461"/>
                  <a:gd name="T5" fmla="*/ 14 h 461"/>
                  <a:gd name="T6" fmla="*/ 173 w 461"/>
                  <a:gd name="T7" fmla="*/ 28 h 461"/>
                  <a:gd name="T8" fmla="*/ 432 w 461"/>
                  <a:gd name="T9" fmla="*/ 288 h 461"/>
                  <a:gd name="T10" fmla="*/ 447 w 461"/>
                  <a:gd name="T11" fmla="*/ 306 h 461"/>
                  <a:gd name="T12" fmla="*/ 456 w 461"/>
                  <a:gd name="T13" fmla="*/ 326 h 461"/>
                  <a:gd name="T14" fmla="*/ 461 w 461"/>
                  <a:gd name="T15" fmla="*/ 348 h 461"/>
                  <a:gd name="T16" fmla="*/ 461 w 461"/>
                  <a:gd name="T17" fmla="*/ 371 h 461"/>
                  <a:gd name="T18" fmla="*/ 456 w 461"/>
                  <a:gd name="T19" fmla="*/ 393 h 461"/>
                  <a:gd name="T20" fmla="*/ 447 w 461"/>
                  <a:gd name="T21" fmla="*/ 413 h 461"/>
                  <a:gd name="T22" fmla="*/ 432 w 461"/>
                  <a:gd name="T23" fmla="*/ 431 h 461"/>
                  <a:gd name="T24" fmla="*/ 417 w 461"/>
                  <a:gd name="T25" fmla="*/ 445 h 461"/>
                  <a:gd name="T26" fmla="*/ 399 w 461"/>
                  <a:gd name="T27" fmla="*/ 454 h 461"/>
                  <a:gd name="T28" fmla="*/ 380 w 461"/>
                  <a:gd name="T29" fmla="*/ 459 h 461"/>
                  <a:gd name="T30" fmla="*/ 361 w 461"/>
                  <a:gd name="T31" fmla="*/ 461 h 461"/>
                  <a:gd name="T32" fmla="*/ 342 w 461"/>
                  <a:gd name="T33" fmla="*/ 459 h 461"/>
                  <a:gd name="T34" fmla="*/ 322 w 461"/>
                  <a:gd name="T35" fmla="*/ 454 h 461"/>
                  <a:gd name="T36" fmla="*/ 305 w 461"/>
                  <a:gd name="T37" fmla="*/ 445 h 461"/>
                  <a:gd name="T38" fmla="*/ 288 w 461"/>
                  <a:gd name="T39" fmla="*/ 431 h 461"/>
                  <a:gd name="T40" fmla="*/ 29 w 461"/>
                  <a:gd name="T41" fmla="*/ 172 h 461"/>
                  <a:gd name="T42" fmla="*/ 15 w 461"/>
                  <a:gd name="T43" fmla="*/ 154 h 461"/>
                  <a:gd name="T44" fmla="*/ 5 w 461"/>
                  <a:gd name="T45" fmla="*/ 134 h 461"/>
                  <a:gd name="T46" fmla="*/ 0 w 461"/>
                  <a:gd name="T47" fmla="*/ 112 h 461"/>
                  <a:gd name="T48" fmla="*/ 0 w 461"/>
                  <a:gd name="T49" fmla="*/ 89 h 461"/>
                  <a:gd name="T50" fmla="*/ 5 w 461"/>
                  <a:gd name="T51" fmla="*/ 68 h 461"/>
                  <a:gd name="T52" fmla="*/ 15 w 461"/>
                  <a:gd name="T53" fmla="*/ 47 h 461"/>
                  <a:gd name="T54" fmla="*/ 29 w 461"/>
                  <a:gd name="T55" fmla="*/ 28 h 461"/>
                  <a:gd name="T56" fmla="*/ 49 w 461"/>
                  <a:gd name="T57" fmla="*/ 14 h 461"/>
                  <a:gd name="T58" fmla="*/ 69 w 461"/>
                  <a:gd name="T59" fmla="*/ 4 h 461"/>
                  <a:gd name="T60" fmla="*/ 91 w 461"/>
                  <a:gd name="T61" fmla="*/ 0 h 461"/>
                  <a:gd name="T62" fmla="*/ 112 w 461"/>
                  <a:gd name="T63" fmla="*/ 0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1" h="461">
                    <a:moveTo>
                      <a:pt x="112" y="0"/>
                    </a:moveTo>
                    <a:lnTo>
                      <a:pt x="135" y="4"/>
                    </a:lnTo>
                    <a:lnTo>
                      <a:pt x="156" y="14"/>
                    </a:lnTo>
                    <a:lnTo>
                      <a:pt x="173" y="28"/>
                    </a:lnTo>
                    <a:lnTo>
                      <a:pt x="432" y="288"/>
                    </a:lnTo>
                    <a:lnTo>
                      <a:pt x="447" y="306"/>
                    </a:lnTo>
                    <a:lnTo>
                      <a:pt x="456" y="326"/>
                    </a:lnTo>
                    <a:lnTo>
                      <a:pt x="461" y="348"/>
                    </a:lnTo>
                    <a:lnTo>
                      <a:pt x="461" y="371"/>
                    </a:lnTo>
                    <a:lnTo>
                      <a:pt x="456" y="393"/>
                    </a:lnTo>
                    <a:lnTo>
                      <a:pt x="447" y="413"/>
                    </a:lnTo>
                    <a:lnTo>
                      <a:pt x="432" y="431"/>
                    </a:lnTo>
                    <a:lnTo>
                      <a:pt x="417" y="445"/>
                    </a:lnTo>
                    <a:lnTo>
                      <a:pt x="399" y="454"/>
                    </a:lnTo>
                    <a:lnTo>
                      <a:pt x="380" y="459"/>
                    </a:lnTo>
                    <a:lnTo>
                      <a:pt x="361" y="461"/>
                    </a:lnTo>
                    <a:lnTo>
                      <a:pt x="342" y="459"/>
                    </a:lnTo>
                    <a:lnTo>
                      <a:pt x="322" y="454"/>
                    </a:lnTo>
                    <a:lnTo>
                      <a:pt x="305" y="445"/>
                    </a:lnTo>
                    <a:lnTo>
                      <a:pt x="288" y="431"/>
                    </a:lnTo>
                    <a:lnTo>
                      <a:pt x="29" y="172"/>
                    </a:lnTo>
                    <a:lnTo>
                      <a:pt x="15" y="154"/>
                    </a:lnTo>
                    <a:lnTo>
                      <a:pt x="5" y="134"/>
                    </a:lnTo>
                    <a:lnTo>
                      <a:pt x="0" y="112"/>
                    </a:lnTo>
                    <a:lnTo>
                      <a:pt x="0" y="89"/>
                    </a:lnTo>
                    <a:lnTo>
                      <a:pt x="5" y="68"/>
                    </a:lnTo>
                    <a:lnTo>
                      <a:pt x="15" y="47"/>
                    </a:lnTo>
                    <a:lnTo>
                      <a:pt x="29" y="28"/>
                    </a:lnTo>
                    <a:lnTo>
                      <a:pt x="49" y="14"/>
                    </a:lnTo>
                    <a:lnTo>
                      <a:pt x="69" y="4"/>
                    </a:lnTo>
                    <a:lnTo>
                      <a:pt x="91" y="0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8" name="Freeform 734">
                <a:extLst>
                  <a:ext uri="{FF2B5EF4-FFF2-40B4-BE49-F238E27FC236}">
                    <a16:creationId xmlns:a16="http://schemas.microsoft.com/office/drawing/2014/main" id="{613B8F6C-652E-D8A9-E625-5B7672180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0274" y="5749681"/>
                <a:ext cx="64160" cy="64708"/>
              </a:xfrm>
              <a:custGeom>
                <a:avLst/>
                <a:gdLst>
                  <a:gd name="T0" fmla="*/ 112 w 467"/>
                  <a:gd name="T1" fmla="*/ 0 h 469"/>
                  <a:gd name="T2" fmla="*/ 134 w 467"/>
                  <a:gd name="T3" fmla="*/ 5 h 469"/>
                  <a:gd name="T4" fmla="*/ 155 w 467"/>
                  <a:gd name="T5" fmla="*/ 15 h 469"/>
                  <a:gd name="T6" fmla="*/ 173 w 467"/>
                  <a:gd name="T7" fmla="*/ 29 h 469"/>
                  <a:gd name="T8" fmla="*/ 438 w 467"/>
                  <a:gd name="T9" fmla="*/ 294 h 469"/>
                  <a:gd name="T10" fmla="*/ 453 w 467"/>
                  <a:gd name="T11" fmla="*/ 313 h 469"/>
                  <a:gd name="T12" fmla="*/ 462 w 467"/>
                  <a:gd name="T13" fmla="*/ 334 h 469"/>
                  <a:gd name="T14" fmla="*/ 467 w 467"/>
                  <a:gd name="T15" fmla="*/ 355 h 469"/>
                  <a:gd name="T16" fmla="*/ 467 w 467"/>
                  <a:gd name="T17" fmla="*/ 378 h 469"/>
                  <a:gd name="T18" fmla="*/ 462 w 467"/>
                  <a:gd name="T19" fmla="*/ 400 h 469"/>
                  <a:gd name="T20" fmla="*/ 453 w 467"/>
                  <a:gd name="T21" fmla="*/ 420 h 469"/>
                  <a:gd name="T22" fmla="*/ 438 w 467"/>
                  <a:gd name="T23" fmla="*/ 438 h 469"/>
                  <a:gd name="T24" fmla="*/ 423 w 467"/>
                  <a:gd name="T25" fmla="*/ 452 h 469"/>
                  <a:gd name="T26" fmla="*/ 405 w 467"/>
                  <a:gd name="T27" fmla="*/ 461 h 469"/>
                  <a:gd name="T28" fmla="*/ 386 w 467"/>
                  <a:gd name="T29" fmla="*/ 466 h 469"/>
                  <a:gd name="T30" fmla="*/ 367 w 467"/>
                  <a:gd name="T31" fmla="*/ 469 h 469"/>
                  <a:gd name="T32" fmla="*/ 346 w 467"/>
                  <a:gd name="T33" fmla="*/ 466 h 469"/>
                  <a:gd name="T34" fmla="*/ 329 w 467"/>
                  <a:gd name="T35" fmla="*/ 461 h 469"/>
                  <a:gd name="T36" fmla="*/ 311 w 467"/>
                  <a:gd name="T37" fmla="*/ 452 h 469"/>
                  <a:gd name="T38" fmla="*/ 294 w 467"/>
                  <a:gd name="T39" fmla="*/ 438 h 469"/>
                  <a:gd name="T40" fmla="*/ 29 w 467"/>
                  <a:gd name="T41" fmla="*/ 173 h 469"/>
                  <a:gd name="T42" fmla="*/ 15 w 467"/>
                  <a:gd name="T43" fmla="*/ 155 h 469"/>
                  <a:gd name="T44" fmla="*/ 5 w 467"/>
                  <a:gd name="T45" fmla="*/ 135 h 469"/>
                  <a:gd name="T46" fmla="*/ 0 w 467"/>
                  <a:gd name="T47" fmla="*/ 112 h 469"/>
                  <a:gd name="T48" fmla="*/ 0 w 467"/>
                  <a:gd name="T49" fmla="*/ 90 h 469"/>
                  <a:gd name="T50" fmla="*/ 5 w 467"/>
                  <a:gd name="T51" fmla="*/ 69 h 469"/>
                  <a:gd name="T52" fmla="*/ 15 w 467"/>
                  <a:gd name="T53" fmla="*/ 48 h 469"/>
                  <a:gd name="T54" fmla="*/ 29 w 467"/>
                  <a:gd name="T55" fmla="*/ 29 h 469"/>
                  <a:gd name="T56" fmla="*/ 48 w 467"/>
                  <a:gd name="T57" fmla="*/ 15 h 469"/>
                  <a:gd name="T58" fmla="*/ 69 w 467"/>
                  <a:gd name="T59" fmla="*/ 5 h 469"/>
                  <a:gd name="T60" fmla="*/ 90 w 467"/>
                  <a:gd name="T61" fmla="*/ 0 h 469"/>
                  <a:gd name="T62" fmla="*/ 112 w 467"/>
                  <a:gd name="T63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7" h="469">
                    <a:moveTo>
                      <a:pt x="112" y="0"/>
                    </a:moveTo>
                    <a:lnTo>
                      <a:pt x="134" y="5"/>
                    </a:lnTo>
                    <a:lnTo>
                      <a:pt x="155" y="15"/>
                    </a:lnTo>
                    <a:lnTo>
                      <a:pt x="173" y="29"/>
                    </a:lnTo>
                    <a:lnTo>
                      <a:pt x="438" y="294"/>
                    </a:lnTo>
                    <a:lnTo>
                      <a:pt x="453" y="313"/>
                    </a:lnTo>
                    <a:lnTo>
                      <a:pt x="462" y="334"/>
                    </a:lnTo>
                    <a:lnTo>
                      <a:pt x="467" y="355"/>
                    </a:lnTo>
                    <a:lnTo>
                      <a:pt x="467" y="378"/>
                    </a:lnTo>
                    <a:lnTo>
                      <a:pt x="462" y="400"/>
                    </a:lnTo>
                    <a:lnTo>
                      <a:pt x="453" y="420"/>
                    </a:lnTo>
                    <a:lnTo>
                      <a:pt x="438" y="438"/>
                    </a:lnTo>
                    <a:lnTo>
                      <a:pt x="423" y="452"/>
                    </a:lnTo>
                    <a:lnTo>
                      <a:pt x="405" y="461"/>
                    </a:lnTo>
                    <a:lnTo>
                      <a:pt x="386" y="466"/>
                    </a:lnTo>
                    <a:lnTo>
                      <a:pt x="367" y="469"/>
                    </a:lnTo>
                    <a:lnTo>
                      <a:pt x="346" y="466"/>
                    </a:lnTo>
                    <a:lnTo>
                      <a:pt x="329" y="461"/>
                    </a:lnTo>
                    <a:lnTo>
                      <a:pt x="311" y="452"/>
                    </a:lnTo>
                    <a:lnTo>
                      <a:pt x="294" y="438"/>
                    </a:lnTo>
                    <a:lnTo>
                      <a:pt x="29" y="173"/>
                    </a:lnTo>
                    <a:lnTo>
                      <a:pt x="15" y="155"/>
                    </a:lnTo>
                    <a:lnTo>
                      <a:pt x="5" y="135"/>
                    </a:lnTo>
                    <a:lnTo>
                      <a:pt x="0" y="112"/>
                    </a:lnTo>
                    <a:lnTo>
                      <a:pt x="0" y="90"/>
                    </a:lnTo>
                    <a:lnTo>
                      <a:pt x="5" y="69"/>
                    </a:lnTo>
                    <a:lnTo>
                      <a:pt x="15" y="48"/>
                    </a:lnTo>
                    <a:lnTo>
                      <a:pt x="29" y="29"/>
                    </a:lnTo>
                    <a:lnTo>
                      <a:pt x="48" y="15"/>
                    </a:lnTo>
                    <a:lnTo>
                      <a:pt x="69" y="5"/>
                    </a:lnTo>
                    <a:lnTo>
                      <a:pt x="90" y="0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9" name="Freeform 735">
                <a:extLst>
                  <a:ext uri="{FF2B5EF4-FFF2-40B4-BE49-F238E27FC236}">
                    <a16:creationId xmlns:a16="http://schemas.microsoft.com/office/drawing/2014/main" id="{C6C5ECD9-A417-1DBE-D508-03C3030F5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12073" y="5424496"/>
                <a:ext cx="349863" cy="538502"/>
              </a:xfrm>
              <a:custGeom>
                <a:avLst/>
                <a:gdLst>
                  <a:gd name="T0" fmla="*/ 1302 w 2551"/>
                  <a:gd name="T1" fmla="*/ 3392 h 3928"/>
                  <a:gd name="T2" fmla="*/ 1374 w 2551"/>
                  <a:gd name="T3" fmla="*/ 3463 h 3928"/>
                  <a:gd name="T4" fmla="*/ 1347 w 2551"/>
                  <a:gd name="T5" fmla="*/ 3562 h 3928"/>
                  <a:gd name="T6" fmla="*/ 790 w 2551"/>
                  <a:gd name="T7" fmla="*/ 3592 h 3928"/>
                  <a:gd name="T8" fmla="*/ 1760 w 2551"/>
                  <a:gd name="T9" fmla="*/ 3255 h 3928"/>
                  <a:gd name="T10" fmla="*/ 1139 w 2551"/>
                  <a:gd name="T11" fmla="*/ 1845 h 3928"/>
                  <a:gd name="T12" fmla="*/ 1408 w 2551"/>
                  <a:gd name="T13" fmla="*/ 1863 h 3928"/>
                  <a:gd name="T14" fmla="*/ 996 w 2551"/>
                  <a:gd name="T15" fmla="*/ 1537 h 3928"/>
                  <a:gd name="T16" fmla="*/ 1018 w 2551"/>
                  <a:gd name="T17" fmla="*/ 236 h 3928"/>
                  <a:gd name="T18" fmla="*/ 711 w 2551"/>
                  <a:gd name="T19" fmla="*/ 374 h 3928"/>
                  <a:gd name="T20" fmla="*/ 461 w 2551"/>
                  <a:gd name="T21" fmla="*/ 599 h 3928"/>
                  <a:gd name="T22" fmla="*/ 287 w 2551"/>
                  <a:gd name="T23" fmla="*/ 895 h 3928"/>
                  <a:gd name="T24" fmla="*/ 207 w 2551"/>
                  <a:gd name="T25" fmla="*/ 1241 h 3928"/>
                  <a:gd name="T26" fmla="*/ 232 w 2551"/>
                  <a:gd name="T27" fmla="*/ 1608 h 3928"/>
                  <a:gd name="T28" fmla="*/ 354 w 2551"/>
                  <a:gd name="T29" fmla="*/ 1974 h 3928"/>
                  <a:gd name="T30" fmla="*/ 559 w 2551"/>
                  <a:gd name="T31" fmla="*/ 2313 h 3928"/>
                  <a:gd name="T32" fmla="*/ 726 w 2551"/>
                  <a:gd name="T33" fmla="*/ 2674 h 3928"/>
                  <a:gd name="T34" fmla="*/ 790 w 2551"/>
                  <a:gd name="T35" fmla="*/ 3052 h 3928"/>
                  <a:gd name="T36" fmla="*/ 737 w 2551"/>
                  <a:gd name="T37" fmla="*/ 1454 h 3928"/>
                  <a:gd name="T38" fmla="*/ 767 w 2551"/>
                  <a:gd name="T39" fmla="*/ 1361 h 3928"/>
                  <a:gd name="T40" fmla="*/ 1714 w 2551"/>
                  <a:gd name="T41" fmla="*/ 1333 h 3928"/>
                  <a:gd name="T42" fmla="*/ 1799 w 2551"/>
                  <a:gd name="T43" fmla="*/ 1380 h 3928"/>
                  <a:gd name="T44" fmla="*/ 1805 w 2551"/>
                  <a:gd name="T45" fmla="*/ 1478 h 3928"/>
                  <a:gd name="T46" fmla="*/ 1766 w 2551"/>
                  <a:gd name="T47" fmla="*/ 2956 h 3928"/>
                  <a:gd name="T48" fmla="*/ 1856 w 2551"/>
                  <a:gd name="T49" fmla="*/ 2581 h 3928"/>
                  <a:gd name="T50" fmla="*/ 2049 w 2551"/>
                  <a:gd name="T51" fmla="*/ 2226 h 3928"/>
                  <a:gd name="T52" fmla="*/ 2235 w 2551"/>
                  <a:gd name="T53" fmla="*/ 1885 h 3928"/>
                  <a:gd name="T54" fmla="*/ 2334 w 2551"/>
                  <a:gd name="T55" fmla="*/ 1515 h 3928"/>
                  <a:gd name="T56" fmla="*/ 2333 w 2551"/>
                  <a:gd name="T57" fmla="*/ 1151 h 3928"/>
                  <a:gd name="T58" fmla="*/ 2227 w 2551"/>
                  <a:gd name="T59" fmla="*/ 814 h 3928"/>
                  <a:gd name="T60" fmla="*/ 2032 w 2551"/>
                  <a:gd name="T61" fmla="*/ 535 h 3928"/>
                  <a:gd name="T62" fmla="*/ 1767 w 2551"/>
                  <a:gd name="T63" fmla="*/ 330 h 3928"/>
                  <a:gd name="T64" fmla="*/ 1449 w 2551"/>
                  <a:gd name="T65" fmla="*/ 218 h 3928"/>
                  <a:gd name="T66" fmla="*/ 1375 w 2551"/>
                  <a:gd name="T67" fmla="*/ 4 h 3928"/>
                  <a:gd name="T68" fmla="*/ 1749 w 2551"/>
                  <a:gd name="T69" fmla="*/ 96 h 3928"/>
                  <a:gd name="T70" fmla="*/ 2072 w 2551"/>
                  <a:gd name="T71" fmla="*/ 293 h 3928"/>
                  <a:gd name="T72" fmla="*/ 2325 w 2551"/>
                  <a:gd name="T73" fmla="*/ 579 h 3928"/>
                  <a:gd name="T74" fmla="*/ 2491 w 2551"/>
                  <a:gd name="T75" fmla="*/ 932 h 3928"/>
                  <a:gd name="T76" fmla="*/ 2551 w 2551"/>
                  <a:gd name="T77" fmla="*/ 1334 h 3928"/>
                  <a:gd name="T78" fmla="*/ 2493 w 2551"/>
                  <a:gd name="T79" fmla="*/ 1751 h 3928"/>
                  <a:gd name="T80" fmla="*/ 2332 w 2551"/>
                  <a:gd name="T81" fmla="*/ 2157 h 3928"/>
                  <a:gd name="T82" fmla="*/ 2106 w 2551"/>
                  <a:gd name="T83" fmla="*/ 2522 h 3928"/>
                  <a:gd name="T84" fmla="*/ 1980 w 2551"/>
                  <a:gd name="T85" fmla="*/ 2895 h 3928"/>
                  <a:gd name="T86" fmla="*/ 1961 w 2551"/>
                  <a:gd name="T87" fmla="*/ 3761 h 3928"/>
                  <a:gd name="T88" fmla="*/ 1891 w 2551"/>
                  <a:gd name="T89" fmla="*/ 3880 h 3928"/>
                  <a:gd name="T90" fmla="*/ 1760 w 2551"/>
                  <a:gd name="T91" fmla="*/ 3928 h 3928"/>
                  <a:gd name="T92" fmla="*/ 687 w 2551"/>
                  <a:gd name="T93" fmla="*/ 3900 h 3928"/>
                  <a:gd name="T94" fmla="*/ 599 w 2551"/>
                  <a:gd name="T95" fmla="*/ 3796 h 3928"/>
                  <a:gd name="T96" fmla="*/ 582 w 2551"/>
                  <a:gd name="T97" fmla="*/ 2989 h 3928"/>
                  <a:gd name="T98" fmla="*/ 487 w 2551"/>
                  <a:gd name="T99" fmla="*/ 2613 h 3928"/>
                  <a:gd name="T100" fmla="*/ 274 w 2551"/>
                  <a:gd name="T101" fmla="*/ 2253 h 3928"/>
                  <a:gd name="T102" fmla="*/ 88 w 2551"/>
                  <a:gd name="T103" fmla="*/ 1855 h 3928"/>
                  <a:gd name="T104" fmla="*/ 3 w 2551"/>
                  <a:gd name="T105" fmla="*/ 1437 h 3928"/>
                  <a:gd name="T106" fmla="*/ 33 w 2551"/>
                  <a:gd name="T107" fmla="*/ 1029 h 3928"/>
                  <a:gd name="T108" fmla="*/ 173 w 2551"/>
                  <a:gd name="T109" fmla="*/ 662 h 3928"/>
                  <a:gd name="T110" fmla="*/ 407 w 2551"/>
                  <a:gd name="T111" fmla="*/ 357 h 3928"/>
                  <a:gd name="T112" fmla="*/ 715 w 2551"/>
                  <a:gd name="T113" fmla="*/ 135 h 3928"/>
                  <a:gd name="T114" fmla="*/ 1078 w 2551"/>
                  <a:gd name="T115" fmla="*/ 16 h 39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51" h="3928">
                    <a:moveTo>
                      <a:pt x="790" y="3255"/>
                    </a:moveTo>
                    <a:lnTo>
                      <a:pt x="790" y="3388"/>
                    </a:lnTo>
                    <a:lnTo>
                      <a:pt x="1275" y="3388"/>
                    </a:lnTo>
                    <a:lnTo>
                      <a:pt x="1302" y="3392"/>
                    </a:lnTo>
                    <a:lnTo>
                      <a:pt x="1326" y="3402"/>
                    </a:lnTo>
                    <a:lnTo>
                      <a:pt x="1347" y="3418"/>
                    </a:lnTo>
                    <a:lnTo>
                      <a:pt x="1363" y="3439"/>
                    </a:lnTo>
                    <a:lnTo>
                      <a:pt x="1374" y="3463"/>
                    </a:lnTo>
                    <a:lnTo>
                      <a:pt x="1376" y="3490"/>
                    </a:lnTo>
                    <a:lnTo>
                      <a:pt x="1374" y="3517"/>
                    </a:lnTo>
                    <a:lnTo>
                      <a:pt x="1363" y="3541"/>
                    </a:lnTo>
                    <a:lnTo>
                      <a:pt x="1347" y="3562"/>
                    </a:lnTo>
                    <a:lnTo>
                      <a:pt x="1326" y="3578"/>
                    </a:lnTo>
                    <a:lnTo>
                      <a:pt x="1302" y="3588"/>
                    </a:lnTo>
                    <a:lnTo>
                      <a:pt x="1275" y="3592"/>
                    </a:lnTo>
                    <a:lnTo>
                      <a:pt x="790" y="3592"/>
                    </a:lnTo>
                    <a:lnTo>
                      <a:pt x="790" y="3724"/>
                    </a:lnTo>
                    <a:lnTo>
                      <a:pt x="1760" y="3724"/>
                    </a:lnTo>
                    <a:lnTo>
                      <a:pt x="1761" y="3724"/>
                    </a:lnTo>
                    <a:lnTo>
                      <a:pt x="1760" y="3255"/>
                    </a:lnTo>
                    <a:lnTo>
                      <a:pt x="790" y="3255"/>
                    </a:lnTo>
                    <a:close/>
                    <a:moveTo>
                      <a:pt x="996" y="1537"/>
                    </a:moveTo>
                    <a:lnTo>
                      <a:pt x="1133" y="1827"/>
                    </a:lnTo>
                    <a:lnTo>
                      <a:pt x="1139" y="1845"/>
                    </a:lnTo>
                    <a:lnTo>
                      <a:pt x="1142" y="1863"/>
                    </a:lnTo>
                    <a:lnTo>
                      <a:pt x="1221" y="3052"/>
                    </a:lnTo>
                    <a:lnTo>
                      <a:pt x="1329" y="3052"/>
                    </a:lnTo>
                    <a:lnTo>
                      <a:pt x="1408" y="1863"/>
                    </a:lnTo>
                    <a:lnTo>
                      <a:pt x="1412" y="1845"/>
                    </a:lnTo>
                    <a:lnTo>
                      <a:pt x="1418" y="1827"/>
                    </a:lnTo>
                    <a:lnTo>
                      <a:pt x="1553" y="1537"/>
                    </a:lnTo>
                    <a:lnTo>
                      <a:pt x="996" y="1537"/>
                    </a:lnTo>
                    <a:close/>
                    <a:moveTo>
                      <a:pt x="1275" y="203"/>
                    </a:moveTo>
                    <a:lnTo>
                      <a:pt x="1188" y="207"/>
                    </a:lnTo>
                    <a:lnTo>
                      <a:pt x="1101" y="218"/>
                    </a:lnTo>
                    <a:lnTo>
                      <a:pt x="1018" y="236"/>
                    </a:lnTo>
                    <a:lnTo>
                      <a:pt x="937" y="262"/>
                    </a:lnTo>
                    <a:lnTo>
                      <a:pt x="858" y="292"/>
                    </a:lnTo>
                    <a:lnTo>
                      <a:pt x="782" y="330"/>
                    </a:lnTo>
                    <a:lnTo>
                      <a:pt x="711" y="374"/>
                    </a:lnTo>
                    <a:lnTo>
                      <a:pt x="642" y="422"/>
                    </a:lnTo>
                    <a:lnTo>
                      <a:pt x="577" y="476"/>
                    </a:lnTo>
                    <a:lnTo>
                      <a:pt x="517" y="535"/>
                    </a:lnTo>
                    <a:lnTo>
                      <a:pt x="461" y="599"/>
                    </a:lnTo>
                    <a:lnTo>
                      <a:pt x="410" y="667"/>
                    </a:lnTo>
                    <a:lnTo>
                      <a:pt x="363" y="739"/>
                    </a:lnTo>
                    <a:lnTo>
                      <a:pt x="323" y="814"/>
                    </a:lnTo>
                    <a:lnTo>
                      <a:pt x="287" y="895"/>
                    </a:lnTo>
                    <a:lnTo>
                      <a:pt x="258" y="978"/>
                    </a:lnTo>
                    <a:lnTo>
                      <a:pt x="235" y="1063"/>
                    </a:lnTo>
                    <a:lnTo>
                      <a:pt x="217" y="1151"/>
                    </a:lnTo>
                    <a:lnTo>
                      <a:pt x="207" y="1241"/>
                    </a:lnTo>
                    <a:lnTo>
                      <a:pt x="203" y="1334"/>
                    </a:lnTo>
                    <a:lnTo>
                      <a:pt x="207" y="1425"/>
                    </a:lnTo>
                    <a:lnTo>
                      <a:pt x="216" y="1515"/>
                    </a:lnTo>
                    <a:lnTo>
                      <a:pt x="232" y="1608"/>
                    </a:lnTo>
                    <a:lnTo>
                      <a:pt x="254" y="1701"/>
                    </a:lnTo>
                    <a:lnTo>
                      <a:pt x="282" y="1793"/>
                    </a:lnTo>
                    <a:lnTo>
                      <a:pt x="316" y="1885"/>
                    </a:lnTo>
                    <a:lnTo>
                      <a:pt x="354" y="1974"/>
                    </a:lnTo>
                    <a:lnTo>
                      <a:pt x="399" y="2062"/>
                    </a:lnTo>
                    <a:lnTo>
                      <a:pt x="447" y="2146"/>
                    </a:lnTo>
                    <a:lnTo>
                      <a:pt x="501" y="2226"/>
                    </a:lnTo>
                    <a:lnTo>
                      <a:pt x="559" y="2313"/>
                    </a:lnTo>
                    <a:lnTo>
                      <a:pt x="610" y="2401"/>
                    </a:lnTo>
                    <a:lnTo>
                      <a:pt x="655" y="2490"/>
                    </a:lnTo>
                    <a:lnTo>
                      <a:pt x="695" y="2581"/>
                    </a:lnTo>
                    <a:lnTo>
                      <a:pt x="726" y="2674"/>
                    </a:lnTo>
                    <a:lnTo>
                      <a:pt x="752" y="2767"/>
                    </a:lnTo>
                    <a:lnTo>
                      <a:pt x="771" y="2862"/>
                    </a:lnTo>
                    <a:lnTo>
                      <a:pt x="784" y="2956"/>
                    </a:lnTo>
                    <a:lnTo>
                      <a:pt x="790" y="3052"/>
                    </a:lnTo>
                    <a:lnTo>
                      <a:pt x="1017" y="3052"/>
                    </a:lnTo>
                    <a:lnTo>
                      <a:pt x="940" y="1896"/>
                    </a:lnTo>
                    <a:lnTo>
                      <a:pt x="744" y="1478"/>
                    </a:lnTo>
                    <a:lnTo>
                      <a:pt x="737" y="1454"/>
                    </a:lnTo>
                    <a:lnTo>
                      <a:pt x="735" y="1429"/>
                    </a:lnTo>
                    <a:lnTo>
                      <a:pt x="740" y="1403"/>
                    </a:lnTo>
                    <a:lnTo>
                      <a:pt x="751" y="1380"/>
                    </a:lnTo>
                    <a:lnTo>
                      <a:pt x="767" y="1361"/>
                    </a:lnTo>
                    <a:lnTo>
                      <a:pt x="788" y="1346"/>
                    </a:lnTo>
                    <a:lnTo>
                      <a:pt x="810" y="1337"/>
                    </a:lnTo>
                    <a:lnTo>
                      <a:pt x="836" y="1333"/>
                    </a:lnTo>
                    <a:lnTo>
                      <a:pt x="1714" y="1333"/>
                    </a:lnTo>
                    <a:lnTo>
                      <a:pt x="1739" y="1337"/>
                    </a:lnTo>
                    <a:lnTo>
                      <a:pt x="1762" y="1346"/>
                    </a:lnTo>
                    <a:lnTo>
                      <a:pt x="1782" y="1361"/>
                    </a:lnTo>
                    <a:lnTo>
                      <a:pt x="1799" y="1380"/>
                    </a:lnTo>
                    <a:lnTo>
                      <a:pt x="1811" y="1403"/>
                    </a:lnTo>
                    <a:lnTo>
                      <a:pt x="1816" y="1429"/>
                    </a:lnTo>
                    <a:lnTo>
                      <a:pt x="1813" y="1454"/>
                    </a:lnTo>
                    <a:lnTo>
                      <a:pt x="1805" y="1478"/>
                    </a:lnTo>
                    <a:lnTo>
                      <a:pt x="1610" y="1896"/>
                    </a:lnTo>
                    <a:lnTo>
                      <a:pt x="1533" y="3052"/>
                    </a:lnTo>
                    <a:lnTo>
                      <a:pt x="1761" y="3052"/>
                    </a:lnTo>
                    <a:lnTo>
                      <a:pt x="1766" y="2956"/>
                    </a:lnTo>
                    <a:lnTo>
                      <a:pt x="1779" y="2862"/>
                    </a:lnTo>
                    <a:lnTo>
                      <a:pt x="1798" y="2767"/>
                    </a:lnTo>
                    <a:lnTo>
                      <a:pt x="1823" y="2674"/>
                    </a:lnTo>
                    <a:lnTo>
                      <a:pt x="1856" y="2581"/>
                    </a:lnTo>
                    <a:lnTo>
                      <a:pt x="1895" y="2490"/>
                    </a:lnTo>
                    <a:lnTo>
                      <a:pt x="1940" y="2401"/>
                    </a:lnTo>
                    <a:lnTo>
                      <a:pt x="1991" y="2313"/>
                    </a:lnTo>
                    <a:lnTo>
                      <a:pt x="2049" y="2226"/>
                    </a:lnTo>
                    <a:lnTo>
                      <a:pt x="2102" y="2146"/>
                    </a:lnTo>
                    <a:lnTo>
                      <a:pt x="2152" y="2062"/>
                    </a:lnTo>
                    <a:lnTo>
                      <a:pt x="2195" y="1974"/>
                    </a:lnTo>
                    <a:lnTo>
                      <a:pt x="2235" y="1885"/>
                    </a:lnTo>
                    <a:lnTo>
                      <a:pt x="2268" y="1793"/>
                    </a:lnTo>
                    <a:lnTo>
                      <a:pt x="2296" y="1701"/>
                    </a:lnTo>
                    <a:lnTo>
                      <a:pt x="2318" y="1608"/>
                    </a:lnTo>
                    <a:lnTo>
                      <a:pt x="2334" y="1515"/>
                    </a:lnTo>
                    <a:lnTo>
                      <a:pt x="2344" y="1425"/>
                    </a:lnTo>
                    <a:lnTo>
                      <a:pt x="2347" y="1334"/>
                    </a:lnTo>
                    <a:lnTo>
                      <a:pt x="2343" y="1241"/>
                    </a:lnTo>
                    <a:lnTo>
                      <a:pt x="2333" y="1151"/>
                    </a:lnTo>
                    <a:lnTo>
                      <a:pt x="2316" y="1063"/>
                    </a:lnTo>
                    <a:lnTo>
                      <a:pt x="2292" y="978"/>
                    </a:lnTo>
                    <a:lnTo>
                      <a:pt x="2263" y="895"/>
                    </a:lnTo>
                    <a:lnTo>
                      <a:pt x="2227" y="814"/>
                    </a:lnTo>
                    <a:lnTo>
                      <a:pt x="2186" y="739"/>
                    </a:lnTo>
                    <a:lnTo>
                      <a:pt x="2140" y="667"/>
                    </a:lnTo>
                    <a:lnTo>
                      <a:pt x="2088" y="599"/>
                    </a:lnTo>
                    <a:lnTo>
                      <a:pt x="2032" y="535"/>
                    </a:lnTo>
                    <a:lnTo>
                      <a:pt x="1972" y="476"/>
                    </a:lnTo>
                    <a:lnTo>
                      <a:pt x="1907" y="422"/>
                    </a:lnTo>
                    <a:lnTo>
                      <a:pt x="1840" y="374"/>
                    </a:lnTo>
                    <a:lnTo>
                      <a:pt x="1767" y="330"/>
                    </a:lnTo>
                    <a:lnTo>
                      <a:pt x="1692" y="292"/>
                    </a:lnTo>
                    <a:lnTo>
                      <a:pt x="1613" y="262"/>
                    </a:lnTo>
                    <a:lnTo>
                      <a:pt x="1533" y="236"/>
                    </a:lnTo>
                    <a:lnTo>
                      <a:pt x="1449" y="218"/>
                    </a:lnTo>
                    <a:lnTo>
                      <a:pt x="1363" y="207"/>
                    </a:lnTo>
                    <a:lnTo>
                      <a:pt x="1275" y="203"/>
                    </a:lnTo>
                    <a:close/>
                    <a:moveTo>
                      <a:pt x="1275" y="0"/>
                    </a:moveTo>
                    <a:lnTo>
                      <a:pt x="1375" y="4"/>
                    </a:lnTo>
                    <a:lnTo>
                      <a:pt x="1472" y="16"/>
                    </a:lnTo>
                    <a:lnTo>
                      <a:pt x="1567" y="36"/>
                    </a:lnTo>
                    <a:lnTo>
                      <a:pt x="1660" y="62"/>
                    </a:lnTo>
                    <a:lnTo>
                      <a:pt x="1749" y="96"/>
                    </a:lnTo>
                    <a:lnTo>
                      <a:pt x="1836" y="135"/>
                    </a:lnTo>
                    <a:lnTo>
                      <a:pt x="1919" y="183"/>
                    </a:lnTo>
                    <a:lnTo>
                      <a:pt x="1998" y="235"/>
                    </a:lnTo>
                    <a:lnTo>
                      <a:pt x="2072" y="293"/>
                    </a:lnTo>
                    <a:lnTo>
                      <a:pt x="2143" y="357"/>
                    </a:lnTo>
                    <a:lnTo>
                      <a:pt x="2209" y="426"/>
                    </a:lnTo>
                    <a:lnTo>
                      <a:pt x="2270" y="500"/>
                    </a:lnTo>
                    <a:lnTo>
                      <a:pt x="2325" y="579"/>
                    </a:lnTo>
                    <a:lnTo>
                      <a:pt x="2376" y="662"/>
                    </a:lnTo>
                    <a:lnTo>
                      <a:pt x="2421" y="748"/>
                    </a:lnTo>
                    <a:lnTo>
                      <a:pt x="2459" y="839"/>
                    </a:lnTo>
                    <a:lnTo>
                      <a:pt x="2491" y="932"/>
                    </a:lnTo>
                    <a:lnTo>
                      <a:pt x="2516" y="1029"/>
                    </a:lnTo>
                    <a:lnTo>
                      <a:pt x="2535" y="1128"/>
                    </a:lnTo>
                    <a:lnTo>
                      <a:pt x="2547" y="1230"/>
                    </a:lnTo>
                    <a:lnTo>
                      <a:pt x="2551" y="1334"/>
                    </a:lnTo>
                    <a:lnTo>
                      <a:pt x="2547" y="1437"/>
                    </a:lnTo>
                    <a:lnTo>
                      <a:pt x="2535" y="1542"/>
                    </a:lnTo>
                    <a:lnTo>
                      <a:pt x="2518" y="1646"/>
                    </a:lnTo>
                    <a:lnTo>
                      <a:pt x="2493" y="1751"/>
                    </a:lnTo>
                    <a:lnTo>
                      <a:pt x="2463" y="1855"/>
                    </a:lnTo>
                    <a:lnTo>
                      <a:pt x="2425" y="1957"/>
                    </a:lnTo>
                    <a:lnTo>
                      <a:pt x="2381" y="2058"/>
                    </a:lnTo>
                    <a:lnTo>
                      <a:pt x="2332" y="2157"/>
                    </a:lnTo>
                    <a:lnTo>
                      <a:pt x="2275" y="2253"/>
                    </a:lnTo>
                    <a:lnTo>
                      <a:pt x="2214" y="2344"/>
                    </a:lnTo>
                    <a:lnTo>
                      <a:pt x="2157" y="2431"/>
                    </a:lnTo>
                    <a:lnTo>
                      <a:pt x="2106" y="2522"/>
                    </a:lnTo>
                    <a:lnTo>
                      <a:pt x="2063" y="2613"/>
                    </a:lnTo>
                    <a:lnTo>
                      <a:pt x="2027" y="2705"/>
                    </a:lnTo>
                    <a:lnTo>
                      <a:pt x="1999" y="2799"/>
                    </a:lnTo>
                    <a:lnTo>
                      <a:pt x="1980" y="2895"/>
                    </a:lnTo>
                    <a:lnTo>
                      <a:pt x="1967" y="2989"/>
                    </a:lnTo>
                    <a:lnTo>
                      <a:pt x="1963" y="3085"/>
                    </a:lnTo>
                    <a:lnTo>
                      <a:pt x="1963" y="3724"/>
                    </a:lnTo>
                    <a:lnTo>
                      <a:pt x="1961" y="3761"/>
                    </a:lnTo>
                    <a:lnTo>
                      <a:pt x="1951" y="3796"/>
                    </a:lnTo>
                    <a:lnTo>
                      <a:pt x="1935" y="3827"/>
                    </a:lnTo>
                    <a:lnTo>
                      <a:pt x="1916" y="3855"/>
                    </a:lnTo>
                    <a:lnTo>
                      <a:pt x="1891" y="3880"/>
                    </a:lnTo>
                    <a:lnTo>
                      <a:pt x="1863" y="3900"/>
                    </a:lnTo>
                    <a:lnTo>
                      <a:pt x="1831" y="3915"/>
                    </a:lnTo>
                    <a:lnTo>
                      <a:pt x="1796" y="3924"/>
                    </a:lnTo>
                    <a:lnTo>
                      <a:pt x="1760" y="3928"/>
                    </a:lnTo>
                    <a:lnTo>
                      <a:pt x="790" y="3928"/>
                    </a:lnTo>
                    <a:lnTo>
                      <a:pt x="753" y="3924"/>
                    </a:lnTo>
                    <a:lnTo>
                      <a:pt x="719" y="3915"/>
                    </a:lnTo>
                    <a:lnTo>
                      <a:pt x="687" y="3900"/>
                    </a:lnTo>
                    <a:lnTo>
                      <a:pt x="659" y="3880"/>
                    </a:lnTo>
                    <a:lnTo>
                      <a:pt x="635" y="3855"/>
                    </a:lnTo>
                    <a:lnTo>
                      <a:pt x="614" y="3827"/>
                    </a:lnTo>
                    <a:lnTo>
                      <a:pt x="599" y="3796"/>
                    </a:lnTo>
                    <a:lnTo>
                      <a:pt x="590" y="3761"/>
                    </a:lnTo>
                    <a:lnTo>
                      <a:pt x="586" y="3724"/>
                    </a:lnTo>
                    <a:lnTo>
                      <a:pt x="586" y="3085"/>
                    </a:lnTo>
                    <a:lnTo>
                      <a:pt x="582" y="2989"/>
                    </a:lnTo>
                    <a:lnTo>
                      <a:pt x="571" y="2895"/>
                    </a:lnTo>
                    <a:lnTo>
                      <a:pt x="551" y="2799"/>
                    </a:lnTo>
                    <a:lnTo>
                      <a:pt x="523" y="2705"/>
                    </a:lnTo>
                    <a:lnTo>
                      <a:pt x="487" y="2613"/>
                    </a:lnTo>
                    <a:lnTo>
                      <a:pt x="444" y="2522"/>
                    </a:lnTo>
                    <a:lnTo>
                      <a:pt x="394" y="2431"/>
                    </a:lnTo>
                    <a:lnTo>
                      <a:pt x="335" y="2344"/>
                    </a:lnTo>
                    <a:lnTo>
                      <a:pt x="274" y="2253"/>
                    </a:lnTo>
                    <a:lnTo>
                      <a:pt x="219" y="2157"/>
                    </a:lnTo>
                    <a:lnTo>
                      <a:pt x="168" y="2058"/>
                    </a:lnTo>
                    <a:lnTo>
                      <a:pt x="125" y="1957"/>
                    </a:lnTo>
                    <a:lnTo>
                      <a:pt x="88" y="1855"/>
                    </a:lnTo>
                    <a:lnTo>
                      <a:pt x="56" y="1751"/>
                    </a:lnTo>
                    <a:lnTo>
                      <a:pt x="32" y="1646"/>
                    </a:lnTo>
                    <a:lnTo>
                      <a:pt x="14" y="1542"/>
                    </a:lnTo>
                    <a:lnTo>
                      <a:pt x="3" y="1437"/>
                    </a:lnTo>
                    <a:lnTo>
                      <a:pt x="0" y="1334"/>
                    </a:lnTo>
                    <a:lnTo>
                      <a:pt x="4" y="1230"/>
                    </a:lnTo>
                    <a:lnTo>
                      <a:pt x="14" y="1128"/>
                    </a:lnTo>
                    <a:lnTo>
                      <a:pt x="33" y="1029"/>
                    </a:lnTo>
                    <a:lnTo>
                      <a:pt x="59" y="932"/>
                    </a:lnTo>
                    <a:lnTo>
                      <a:pt x="91" y="839"/>
                    </a:lnTo>
                    <a:lnTo>
                      <a:pt x="129" y="748"/>
                    </a:lnTo>
                    <a:lnTo>
                      <a:pt x="173" y="662"/>
                    </a:lnTo>
                    <a:lnTo>
                      <a:pt x="224" y="579"/>
                    </a:lnTo>
                    <a:lnTo>
                      <a:pt x="281" y="500"/>
                    </a:lnTo>
                    <a:lnTo>
                      <a:pt x="342" y="426"/>
                    </a:lnTo>
                    <a:lnTo>
                      <a:pt x="407" y="357"/>
                    </a:lnTo>
                    <a:lnTo>
                      <a:pt x="478" y="293"/>
                    </a:lnTo>
                    <a:lnTo>
                      <a:pt x="553" y="235"/>
                    </a:lnTo>
                    <a:lnTo>
                      <a:pt x="632" y="183"/>
                    </a:lnTo>
                    <a:lnTo>
                      <a:pt x="715" y="135"/>
                    </a:lnTo>
                    <a:lnTo>
                      <a:pt x="802" y="96"/>
                    </a:lnTo>
                    <a:lnTo>
                      <a:pt x="891" y="62"/>
                    </a:lnTo>
                    <a:lnTo>
                      <a:pt x="982" y="36"/>
                    </a:lnTo>
                    <a:lnTo>
                      <a:pt x="1078" y="16"/>
                    </a:lnTo>
                    <a:lnTo>
                      <a:pt x="1176" y="4"/>
                    </a:lnTo>
                    <a:lnTo>
                      <a:pt x="1275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2294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Bildplatzhalter 6">
            <a:extLst>
              <a:ext uri="{FF2B5EF4-FFF2-40B4-BE49-F238E27FC236}">
                <a16:creationId xmlns:a16="http://schemas.microsoft.com/office/drawing/2014/main" id="{E58A4B42-3F05-1846-0344-1904D82FCF4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815" t="25533" b="24150"/>
          <a:stretch/>
        </p:blipFill>
        <p:spPr>
          <a:xfrm>
            <a:off x="0" y="1379219"/>
            <a:ext cx="12191999" cy="4633308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850136D-C3A5-1CCC-8FC2-634216C180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4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CBDE820-DE91-8861-D19F-ADC18EF11A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2" y="6356349"/>
            <a:ext cx="1329172" cy="305989"/>
          </a:xfrm>
        </p:spPr>
        <p:txBody>
          <a:bodyPr/>
          <a:lstStyle/>
          <a:p>
            <a:r>
              <a:rPr lang="de-DE" dirty="0"/>
              <a:t>Oliver Türk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8BEBED0-14B4-0717-DA54-51D2BB37648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CB332E-BBCB-48A0-9BB4-8D3541D6C39B}" type="datetime1">
              <a:rPr lang="de-DE" smtClean="0"/>
              <a:pPr/>
              <a:t>20.04.20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3A6DA2C-7AF2-7263-82AC-E1021446E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57" y="350892"/>
            <a:ext cx="4109026" cy="868362"/>
          </a:xfrm>
        </p:spPr>
        <p:txBody>
          <a:bodyPr/>
          <a:lstStyle/>
          <a:p>
            <a:r>
              <a:rPr lang="de-DE"/>
              <a:t>Ausblick &amp; Visi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4D86595-1646-647A-03EF-02F78F6C0B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5544" y="845473"/>
            <a:ext cx="4004360" cy="387798"/>
          </a:xfrm>
        </p:spPr>
        <p:txBody>
          <a:bodyPr/>
          <a:lstStyle/>
          <a:p>
            <a:r>
              <a:rPr lang="de-DE"/>
              <a:t>Fabrik mit Zukunft weiter ausbau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4219C0D-D328-FA53-0F0F-61062B8E8DE4}"/>
              </a:ext>
            </a:extLst>
          </p:cNvPr>
          <p:cNvSpPr/>
          <p:nvPr/>
        </p:nvSpPr>
        <p:spPr>
          <a:xfrm flipV="1">
            <a:off x="0" y="5564444"/>
            <a:ext cx="12192000" cy="45719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C080D1-FABD-09D2-5BF8-407B02E16975}"/>
              </a:ext>
            </a:extLst>
          </p:cNvPr>
          <p:cNvSpPr txBox="1">
            <a:spLocks/>
          </p:cNvSpPr>
          <p:nvPr/>
        </p:nvSpPr>
        <p:spPr>
          <a:xfrm>
            <a:off x="1146833" y="5706680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GJ21/22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70D4A32E-FAF8-822C-533B-271040EDCE5E}"/>
              </a:ext>
            </a:extLst>
          </p:cNvPr>
          <p:cNvSpPr txBox="1">
            <a:spLocks/>
          </p:cNvSpPr>
          <p:nvPr/>
        </p:nvSpPr>
        <p:spPr>
          <a:xfrm>
            <a:off x="2712644" y="5711498"/>
            <a:ext cx="81222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GJ22/23</a:t>
            </a:r>
          </a:p>
        </p:txBody>
      </p:sp>
      <p:sp>
        <p:nvSpPr>
          <p:cNvPr id="27" name="Porsche_CO-Triangle">
            <a:extLst>
              <a:ext uri="{FF2B5EF4-FFF2-40B4-BE49-F238E27FC236}">
                <a16:creationId xmlns:a16="http://schemas.microsoft.com/office/drawing/2014/main" id="{EE4E3CB0-08CD-11CC-A37A-6E8993FA560C}"/>
              </a:ext>
            </a:extLst>
          </p:cNvPr>
          <p:cNvSpPr>
            <a:spLocks noChangeAspect="1"/>
          </p:cNvSpPr>
          <p:nvPr/>
        </p:nvSpPr>
        <p:spPr>
          <a:xfrm rot="10800000">
            <a:off x="3102483" y="5607424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BAB65F2C-4971-3D5F-FA1F-64090EB9C916}"/>
              </a:ext>
            </a:extLst>
          </p:cNvPr>
          <p:cNvSpPr txBox="1">
            <a:spLocks/>
          </p:cNvSpPr>
          <p:nvPr/>
        </p:nvSpPr>
        <p:spPr>
          <a:xfrm>
            <a:off x="7432137" y="5722845"/>
            <a:ext cx="81222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GJ24/25</a:t>
            </a:r>
          </a:p>
        </p:txBody>
      </p:sp>
      <p:sp>
        <p:nvSpPr>
          <p:cNvPr id="29" name="Porsche_CO-Triangle">
            <a:extLst>
              <a:ext uri="{FF2B5EF4-FFF2-40B4-BE49-F238E27FC236}">
                <a16:creationId xmlns:a16="http://schemas.microsoft.com/office/drawing/2014/main" id="{33049615-E330-07BB-1227-3F8A60F8EC72}"/>
              </a:ext>
            </a:extLst>
          </p:cNvPr>
          <p:cNvSpPr>
            <a:spLocks noChangeAspect="1"/>
          </p:cNvSpPr>
          <p:nvPr/>
        </p:nvSpPr>
        <p:spPr>
          <a:xfrm rot="10800000">
            <a:off x="7749719" y="5607969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DA953330-D838-B9C9-CDCB-BA625B25631D}"/>
              </a:ext>
            </a:extLst>
          </p:cNvPr>
          <p:cNvSpPr txBox="1">
            <a:spLocks/>
          </p:cNvSpPr>
          <p:nvPr/>
        </p:nvSpPr>
        <p:spPr>
          <a:xfrm>
            <a:off x="5123402" y="5706680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GJ23/24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37C5BE9D-CCA1-DA91-6E35-57CE69D8AE44}"/>
              </a:ext>
            </a:extLst>
          </p:cNvPr>
          <p:cNvSpPr txBox="1">
            <a:spLocks/>
          </p:cNvSpPr>
          <p:nvPr/>
        </p:nvSpPr>
        <p:spPr>
          <a:xfrm>
            <a:off x="9743757" y="5706680"/>
            <a:ext cx="8093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GJ25/26</a:t>
            </a:r>
          </a:p>
        </p:txBody>
      </p:sp>
      <p:sp>
        <p:nvSpPr>
          <p:cNvPr id="55" name="Porsche_CO-Triangle">
            <a:extLst>
              <a:ext uri="{FF2B5EF4-FFF2-40B4-BE49-F238E27FC236}">
                <a16:creationId xmlns:a16="http://schemas.microsoft.com/office/drawing/2014/main" id="{59F94B43-3E08-453A-9B1B-D5545D46050A}"/>
              </a:ext>
            </a:extLst>
          </p:cNvPr>
          <p:cNvSpPr>
            <a:spLocks noChangeAspect="1"/>
          </p:cNvSpPr>
          <p:nvPr/>
        </p:nvSpPr>
        <p:spPr>
          <a:xfrm rot="10800000">
            <a:off x="1462293" y="5609762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C5FD952B-6CA3-C9F7-0F6E-DBAD1A07717B}"/>
              </a:ext>
            </a:extLst>
          </p:cNvPr>
          <p:cNvSpPr/>
          <p:nvPr/>
        </p:nvSpPr>
        <p:spPr>
          <a:xfrm flipH="1">
            <a:off x="713170" y="1379219"/>
            <a:ext cx="52374" cy="4685826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59" name="Porsche_CO-Triangle">
            <a:extLst>
              <a:ext uri="{FF2B5EF4-FFF2-40B4-BE49-F238E27FC236}">
                <a16:creationId xmlns:a16="http://schemas.microsoft.com/office/drawing/2014/main" id="{5DD4E337-505C-AA66-24FC-5695163A3F23}"/>
              </a:ext>
            </a:extLst>
          </p:cNvPr>
          <p:cNvSpPr>
            <a:spLocks noChangeAspect="1"/>
          </p:cNvSpPr>
          <p:nvPr/>
        </p:nvSpPr>
        <p:spPr>
          <a:xfrm rot="10800000">
            <a:off x="5426101" y="5607424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0" name="Porsche_CO-Triangle">
            <a:extLst>
              <a:ext uri="{FF2B5EF4-FFF2-40B4-BE49-F238E27FC236}">
                <a16:creationId xmlns:a16="http://schemas.microsoft.com/office/drawing/2014/main" id="{89CEDD49-D781-A322-0F0D-CB3AFFA92F50}"/>
              </a:ext>
            </a:extLst>
          </p:cNvPr>
          <p:cNvSpPr>
            <a:spLocks noChangeAspect="1"/>
          </p:cNvSpPr>
          <p:nvPr/>
        </p:nvSpPr>
        <p:spPr>
          <a:xfrm rot="10800000">
            <a:off x="10028507" y="5607424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1" name="Porsche_CO-Triangle">
            <a:extLst>
              <a:ext uri="{FF2B5EF4-FFF2-40B4-BE49-F238E27FC236}">
                <a16:creationId xmlns:a16="http://schemas.microsoft.com/office/drawing/2014/main" id="{AD4EF7E3-2C1D-B201-F0B4-F9E9E757B9BD}"/>
              </a:ext>
            </a:extLst>
          </p:cNvPr>
          <p:cNvSpPr>
            <a:spLocks noChangeAspect="1"/>
          </p:cNvSpPr>
          <p:nvPr/>
        </p:nvSpPr>
        <p:spPr>
          <a:xfrm rot="16200000">
            <a:off x="584004" y="5012956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2" name="Porsche_CO-Triangle">
            <a:extLst>
              <a:ext uri="{FF2B5EF4-FFF2-40B4-BE49-F238E27FC236}">
                <a16:creationId xmlns:a16="http://schemas.microsoft.com/office/drawing/2014/main" id="{D94360AE-EC79-2251-E699-874FC7C65336}"/>
              </a:ext>
            </a:extLst>
          </p:cNvPr>
          <p:cNvSpPr>
            <a:spLocks noChangeAspect="1"/>
          </p:cNvSpPr>
          <p:nvPr/>
        </p:nvSpPr>
        <p:spPr>
          <a:xfrm rot="16200000">
            <a:off x="585218" y="3265353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4" name="Porsche_CO-Triangle">
            <a:extLst>
              <a:ext uri="{FF2B5EF4-FFF2-40B4-BE49-F238E27FC236}">
                <a16:creationId xmlns:a16="http://schemas.microsoft.com/office/drawing/2014/main" id="{00E0DD7A-EB9A-6BD6-11CB-C10857CA602C}"/>
              </a:ext>
            </a:extLst>
          </p:cNvPr>
          <p:cNvSpPr>
            <a:spLocks noChangeAspect="1"/>
          </p:cNvSpPr>
          <p:nvPr/>
        </p:nvSpPr>
        <p:spPr>
          <a:xfrm rot="16200000">
            <a:off x="580124" y="1555850"/>
            <a:ext cx="177394" cy="88697"/>
          </a:xfrm>
          <a:prstGeom prst="triangl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5" name="Textplatzhalter 5">
            <a:extLst>
              <a:ext uri="{FF2B5EF4-FFF2-40B4-BE49-F238E27FC236}">
                <a16:creationId xmlns:a16="http://schemas.microsoft.com/office/drawing/2014/main" id="{9E34E08C-923F-0706-AF08-DA3CB0D5B0C0}"/>
              </a:ext>
            </a:extLst>
          </p:cNvPr>
          <p:cNvSpPr txBox="1">
            <a:spLocks/>
          </p:cNvSpPr>
          <p:nvPr/>
        </p:nvSpPr>
        <p:spPr>
          <a:xfrm>
            <a:off x="162745" y="4934193"/>
            <a:ext cx="35319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130 </a:t>
            </a:r>
          </a:p>
        </p:txBody>
      </p:sp>
      <p:sp>
        <p:nvSpPr>
          <p:cNvPr id="66" name="Textplatzhalter 5">
            <a:extLst>
              <a:ext uri="{FF2B5EF4-FFF2-40B4-BE49-F238E27FC236}">
                <a16:creationId xmlns:a16="http://schemas.microsoft.com/office/drawing/2014/main" id="{09E0ECC9-FD3F-2AF4-DF00-233D4FB65512}"/>
              </a:ext>
            </a:extLst>
          </p:cNvPr>
          <p:cNvSpPr txBox="1">
            <a:spLocks/>
          </p:cNvSpPr>
          <p:nvPr/>
        </p:nvSpPr>
        <p:spPr>
          <a:xfrm>
            <a:off x="162745" y="3188973"/>
            <a:ext cx="35319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155 </a:t>
            </a:r>
          </a:p>
        </p:txBody>
      </p:sp>
      <p:sp>
        <p:nvSpPr>
          <p:cNvPr id="67" name="Textplatzhalter 5">
            <a:extLst>
              <a:ext uri="{FF2B5EF4-FFF2-40B4-BE49-F238E27FC236}">
                <a16:creationId xmlns:a16="http://schemas.microsoft.com/office/drawing/2014/main" id="{27959662-F060-2DD4-E34E-C103493A444D}"/>
              </a:ext>
            </a:extLst>
          </p:cNvPr>
          <p:cNvSpPr txBox="1">
            <a:spLocks/>
          </p:cNvSpPr>
          <p:nvPr/>
        </p:nvSpPr>
        <p:spPr>
          <a:xfrm>
            <a:off x="162744" y="1477087"/>
            <a:ext cx="35319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>
                <a:solidFill>
                  <a:schemeClr val="bg1"/>
                </a:solidFill>
              </a:rPr>
              <a:t>180</a:t>
            </a:r>
          </a:p>
        </p:txBody>
      </p:sp>
      <p:sp>
        <p:nvSpPr>
          <p:cNvPr id="68" name="Textplatzhalter 5">
            <a:extLst>
              <a:ext uri="{FF2B5EF4-FFF2-40B4-BE49-F238E27FC236}">
                <a16:creationId xmlns:a16="http://schemas.microsoft.com/office/drawing/2014/main" id="{99E96C98-7918-F59E-2FF3-CBF94ADEC131}"/>
              </a:ext>
            </a:extLst>
          </p:cNvPr>
          <p:cNvSpPr txBox="1">
            <a:spLocks/>
          </p:cNvSpPr>
          <p:nvPr/>
        </p:nvSpPr>
        <p:spPr>
          <a:xfrm rot="5400000">
            <a:off x="99884" y="2220330"/>
            <a:ext cx="159753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chemeClr val="bg1"/>
                </a:solidFill>
              </a:rPr>
              <a:t>In Tausend h / Jahr</a:t>
            </a:r>
          </a:p>
        </p:txBody>
      </p:sp>
      <p:sp>
        <p:nvSpPr>
          <p:cNvPr id="71" name="Freihandform: Form 70">
            <a:extLst>
              <a:ext uri="{FF2B5EF4-FFF2-40B4-BE49-F238E27FC236}">
                <a16:creationId xmlns:a16="http://schemas.microsoft.com/office/drawing/2014/main" id="{FC1EA257-7E7C-A726-5F37-79AF4F52BA07}"/>
              </a:ext>
            </a:extLst>
          </p:cNvPr>
          <p:cNvSpPr/>
          <p:nvPr/>
        </p:nvSpPr>
        <p:spPr>
          <a:xfrm>
            <a:off x="1083781" y="4968607"/>
            <a:ext cx="872389" cy="508268"/>
          </a:xfrm>
          <a:custGeom>
            <a:avLst/>
            <a:gdLst>
              <a:gd name="connsiteX0" fmla="*/ 0 w 4392055"/>
              <a:gd name="connsiteY0" fmla="*/ 0 h 2546550"/>
              <a:gd name="connsiteX1" fmla="*/ 3666727 w 4392055"/>
              <a:gd name="connsiteY1" fmla="*/ 0 h 2546550"/>
              <a:gd name="connsiteX2" fmla="*/ 3920214 w 4392055"/>
              <a:gd name="connsiteY2" fmla="*/ 0 h 2546550"/>
              <a:gd name="connsiteX3" fmla="*/ 4392055 w 4392055"/>
              <a:gd name="connsiteY3" fmla="*/ 0 h 2546550"/>
              <a:gd name="connsiteX4" fmla="*/ 4392055 w 4392055"/>
              <a:gd name="connsiteY4" fmla="*/ 2546550 h 2546550"/>
              <a:gd name="connsiteX5" fmla="*/ 3920214 w 4392055"/>
              <a:gd name="connsiteY5" fmla="*/ 2546550 h 2546550"/>
              <a:gd name="connsiteX6" fmla="*/ 3666727 w 4392055"/>
              <a:gd name="connsiteY6" fmla="*/ 2546550 h 2546550"/>
              <a:gd name="connsiteX7" fmla="*/ 0 w 4392055"/>
              <a:gd name="connsiteY7" fmla="*/ 2546550 h 2546550"/>
              <a:gd name="connsiteX8" fmla="*/ 0 w 4392055"/>
              <a:gd name="connsiteY8" fmla="*/ 1507549 h 2546550"/>
              <a:gd name="connsiteX9" fmla="*/ 234275 w 4392055"/>
              <a:gd name="connsiteY9" fmla="*/ 1273276 h 2546550"/>
              <a:gd name="connsiteX10" fmla="*/ 0 w 4392055"/>
              <a:gd name="connsiteY10" fmla="*/ 1039002 h 25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2055" h="2546550">
                <a:moveTo>
                  <a:pt x="0" y="0"/>
                </a:moveTo>
                <a:lnTo>
                  <a:pt x="3666727" y="0"/>
                </a:lnTo>
                <a:lnTo>
                  <a:pt x="3920214" y="0"/>
                </a:lnTo>
                <a:lnTo>
                  <a:pt x="4392055" y="0"/>
                </a:lnTo>
                <a:lnTo>
                  <a:pt x="4392055" y="2546550"/>
                </a:lnTo>
                <a:lnTo>
                  <a:pt x="3920214" y="2546550"/>
                </a:lnTo>
                <a:lnTo>
                  <a:pt x="3666727" y="2546550"/>
                </a:lnTo>
                <a:lnTo>
                  <a:pt x="0" y="2546550"/>
                </a:lnTo>
                <a:lnTo>
                  <a:pt x="0" y="1507549"/>
                </a:lnTo>
                <a:lnTo>
                  <a:pt x="234275" y="1273276"/>
                </a:lnTo>
                <a:lnTo>
                  <a:pt x="0" y="1039002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A0AC43E7-1014-3FE4-E08A-B77B6B2A20A4}"/>
              </a:ext>
            </a:extLst>
          </p:cNvPr>
          <p:cNvSpPr/>
          <p:nvPr/>
        </p:nvSpPr>
        <p:spPr>
          <a:xfrm>
            <a:off x="1964170" y="3969762"/>
            <a:ext cx="2664980" cy="893183"/>
          </a:xfrm>
          <a:custGeom>
            <a:avLst/>
            <a:gdLst>
              <a:gd name="connsiteX0" fmla="*/ 0 w 4392055"/>
              <a:gd name="connsiteY0" fmla="*/ 0 h 2546550"/>
              <a:gd name="connsiteX1" fmla="*/ 3666727 w 4392055"/>
              <a:gd name="connsiteY1" fmla="*/ 0 h 2546550"/>
              <a:gd name="connsiteX2" fmla="*/ 3920214 w 4392055"/>
              <a:gd name="connsiteY2" fmla="*/ 0 h 2546550"/>
              <a:gd name="connsiteX3" fmla="*/ 4392055 w 4392055"/>
              <a:gd name="connsiteY3" fmla="*/ 0 h 2546550"/>
              <a:gd name="connsiteX4" fmla="*/ 4392055 w 4392055"/>
              <a:gd name="connsiteY4" fmla="*/ 2546550 h 2546550"/>
              <a:gd name="connsiteX5" fmla="*/ 3920214 w 4392055"/>
              <a:gd name="connsiteY5" fmla="*/ 2546550 h 2546550"/>
              <a:gd name="connsiteX6" fmla="*/ 3666727 w 4392055"/>
              <a:gd name="connsiteY6" fmla="*/ 2546550 h 2546550"/>
              <a:gd name="connsiteX7" fmla="*/ 0 w 4392055"/>
              <a:gd name="connsiteY7" fmla="*/ 2546550 h 2546550"/>
              <a:gd name="connsiteX8" fmla="*/ 0 w 4392055"/>
              <a:gd name="connsiteY8" fmla="*/ 1507549 h 2546550"/>
              <a:gd name="connsiteX9" fmla="*/ 234275 w 4392055"/>
              <a:gd name="connsiteY9" fmla="*/ 1273276 h 2546550"/>
              <a:gd name="connsiteX10" fmla="*/ 0 w 4392055"/>
              <a:gd name="connsiteY10" fmla="*/ 1039002 h 25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2055" h="2546550">
                <a:moveTo>
                  <a:pt x="0" y="0"/>
                </a:moveTo>
                <a:lnTo>
                  <a:pt x="3666727" y="0"/>
                </a:lnTo>
                <a:lnTo>
                  <a:pt x="3920214" y="0"/>
                </a:lnTo>
                <a:lnTo>
                  <a:pt x="4392055" y="0"/>
                </a:lnTo>
                <a:lnTo>
                  <a:pt x="4392055" y="2546550"/>
                </a:lnTo>
                <a:lnTo>
                  <a:pt x="3920214" y="2546550"/>
                </a:lnTo>
                <a:lnTo>
                  <a:pt x="3666727" y="2546550"/>
                </a:lnTo>
                <a:lnTo>
                  <a:pt x="0" y="2546550"/>
                </a:lnTo>
                <a:lnTo>
                  <a:pt x="0" y="1507549"/>
                </a:lnTo>
                <a:lnTo>
                  <a:pt x="234275" y="1273276"/>
                </a:lnTo>
                <a:lnTo>
                  <a:pt x="0" y="1039002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73" name="Freihandform: Form 72">
            <a:extLst>
              <a:ext uri="{FF2B5EF4-FFF2-40B4-BE49-F238E27FC236}">
                <a16:creationId xmlns:a16="http://schemas.microsoft.com/office/drawing/2014/main" id="{4567D3E9-FD2E-2675-A0AE-1D509C4DB780}"/>
              </a:ext>
            </a:extLst>
          </p:cNvPr>
          <p:cNvSpPr/>
          <p:nvPr/>
        </p:nvSpPr>
        <p:spPr>
          <a:xfrm>
            <a:off x="4629150" y="3033240"/>
            <a:ext cx="3139192" cy="813730"/>
          </a:xfrm>
          <a:custGeom>
            <a:avLst/>
            <a:gdLst>
              <a:gd name="connsiteX0" fmla="*/ 0 w 4392055"/>
              <a:gd name="connsiteY0" fmla="*/ 0 h 2546550"/>
              <a:gd name="connsiteX1" fmla="*/ 3666727 w 4392055"/>
              <a:gd name="connsiteY1" fmla="*/ 0 h 2546550"/>
              <a:gd name="connsiteX2" fmla="*/ 3920214 w 4392055"/>
              <a:gd name="connsiteY2" fmla="*/ 0 h 2546550"/>
              <a:gd name="connsiteX3" fmla="*/ 4392055 w 4392055"/>
              <a:gd name="connsiteY3" fmla="*/ 0 h 2546550"/>
              <a:gd name="connsiteX4" fmla="*/ 4392055 w 4392055"/>
              <a:gd name="connsiteY4" fmla="*/ 2546550 h 2546550"/>
              <a:gd name="connsiteX5" fmla="*/ 3920214 w 4392055"/>
              <a:gd name="connsiteY5" fmla="*/ 2546550 h 2546550"/>
              <a:gd name="connsiteX6" fmla="*/ 3666727 w 4392055"/>
              <a:gd name="connsiteY6" fmla="*/ 2546550 h 2546550"/>
              <a:gd name="connsiteX7" fmla="*/ 0 w 4392055"/>
              <a:gd name="connsiteY7" fmla="*/ 2546550 h 2546550"/>
              <a:gd name="connsiteX8" fmla="*/ 0 w 4392055"/>
              <a:gd name="connsiteY8" fmla="*/ 1507549 h 2546550"/>
              <a:gd name="connsiteX9" fmla="*/ 234275 w 4392055"/>
              <a:gd name="connsiteY9" fmla="*/ 1273276 h 2546550"/>
              <a:gd name="connsiteX10" fmla="*/ 0 w 4392055"/>
              <a:gd name="connsiteY10" fmla="*/ 1039002 h 25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2055" h="2546550">
                <a:moveTo>
                  <a:pt x="0" y="0"/>
                </a:moveTo>
                <a:lnTo>
                  <a:pt x="3666727" y="0"/>
                </a:lnTo>
                <a:lnTo>
                  <a:pt x="3920214" y="0"/>
                </a:lnTo>
                <a:lnTo>
                  <a:pt x="4392055" y="0"/>
                </a:lnTo>
                <a:lnTo>
                  <a:pt x="4392055" y="2546550"/>
                </a:lnTo>
                <a:lnTo>
                  <a:pt x="3920214" y="2546550"/>
                </a:lnTo>
                <a:lnTo>
                  <a:pt x="3666727" y="2546550"/>
                </a:lnTo>
                <a:lnTo>
                  <a:pt x="0" y="2546550"/>
                </a:lnTo>
                <a:lnTo>
                  <a:pt x="0" y="1507549"/>
                </a:lnTo>
                <a:lnTo>
                  <a:pt x="234275" y="1273276"/>
                </a:lnTo>
                <a:lnTo>
                  <a:pt x="0" y="1039002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74" name="Freihandform: Form 73">
            <a:extLst>
              <a:ext uri="{FF2B5EF4-FFF2-40B4-BE49-F238E27FC236}">
                <a16:creationId xmlns:a16="http://schemas.microsoft.com/office/drawing/2014/main" id="{3BD2ADB5-F12A-F963-D0EE-FA3EC20386D7}"/>
              </a:ext>
            </a:extLst>
          </p:cNvPr>
          <p:cNvSpPr/>
          <p:nvPr/>
        </p:nvSpPr>
        <p:spPr>
          <a:xfrm>
            <a:off x="7768342" y="2205338"/>
            <a:ext cx="2942942" cy="704968"/>
          </a:xfrm>
          <a:custGeom>
            <a:avLst/>
            <a:gdLst>
              <a:gd name="connsiteX0" fmla="*/ 0 w 4392055"/>
              <a:gd name="connsiteY0" fmla="*/ 0 h 2546550"/>
              <a:gd name="connsiteX1" fmla="*/ 3666727 w 4392055"/>
              <a:gd name="connsiteY1" fmla="*/ 0 h 2546550"/>
              <a:gd name="connsiteX2" fmla="*/ 3920214 w 4392055"/>
              <a:gd name="connsiteY2" fmla="*/ 0 h 2546550"/>
              <a:gd name="connsiteX3" fmla="*/ 4392055 w 4392055"/>
              <a:gd name="connsiteY3" fmla="*/ 0 h 2546550"/>
              <a:gd name="connsiteX4" fmla="*/ 4392055 w 4392055"/>
              <a:gd name="connsiteY4" fmla="*/ 2546550 h 2546550"/>
              <a:gd name="connsiteX5" fmla="*/ 3920214 w 4392055"/>
              <a:gd name="connsiteY5" fmla="*/ 2546550 h 2546550"/>
              <a:gd name="connsiteX6" fmla="*/ 3666727 w 4392055"/>
              <a:gd name="connsiteY6" fmla="*/ 2546550 h 2546550"/>
              <a:gd name="connsiteX7" fmla="*/ 0 w 4392055"/>
              <a:gd name="connsiteY7" fmla="*/ 2546550 h 2546550"/>
              <a:gd name="connsiteX8" fmla="*/ 0 w 4392055"/>
              <a:gd name="connsiteY8" fmla="*/ 1507549 h 2546550"/>
              <a:gd name="connsiteX9" fmla="*/ 234275 w 4392055"/>
              <a:gd name="connsiteY9" fmla="*/ 1273276 h 2546550"/>
              <a:gd name="connsiteX10" fmla="*/ 0 w 4392055"/>
              <a:gd name="connsiteY10" fmla="*/ 1039002 h 25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2055" h="2546550">
                <a:moveTo>
                  <a:pt x="0" y="0"/>
                </a:moveTo>
                <a:lnTo>
                  <a:pt x="3666727" y="0"/>
                </a:lnTo>
                <a:lnTo>
                  <a:pt x="3920214" y="0"/>
                </a:lnTo>
                <a:lnTo>
                  <a:pt x="4392055" y="0"/>
                </a:lnTo>
                <a:lnTo>
                  <a:pt x="4392055" y="2546550"/>
                </a:lnTo>
                <a:lnTo>
                  <a:pt x="3920214" y="2546550"/>
                </a:lnTo>
                <a:lnTo>
                  <a:pt x="3666727" y="2546550"/>
                </a:lnTo>
                <a:lnTo>
                  <a:pt x="0" y="2546550"/>
                </a:lnTo>
                <a:lnTo>
                  <a:pt x="0" y="1507549"/>
                </a:lnTo>
                <a:lnTo>
                  <a:pt x="234275" y="1273276"/>
                </a:lnTo>
                <a:lnTo>
                  <a:pt x="0" y="1039002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360020833">
                  <a:custGeom>
                    <a:avLst/>
                    <a:gdLst>
                      <a:gd name="connsiteX0" fmla="*/ 0 w 1715327"/>
                      <a:gd name="connsiteY0" fmla="*/ 0 h 813730"/>
                      <a:gd name="connsiteX1" fmla="*/ 448708 w 1715327"/>
                      <a:gd name="connsiteY1" fmla="*/ 0 h 813730"/>
                      <a:gd name="connsiteX2" fmla="*/ 911737 w 1715327"/>
                      <a:gd name="connsiteY2" fmla="*/ 0 h 813730"/>
                      <a:gd name="connsiteX3" fmla="*/ 1432048 w 1715327"/>
                      <a:gd name="connsiteY3" fmla="*/ 0 h 813730"/>
                      <a:gd name="connsiteX4" fmla="*/ 1531048 w 1715327"/>
                      <a:gd name="connsiteY4" fmla="*/ 0 h 813730"/>
                      <a:gd name="connsiteX5" fmla="*/ 1715327 w 1715327"/>
                      <a:gd name="connsiteY5" fmla="*/ 0 h 813730"/>
                      <a:gd name="connsiteX6" fmla="*/ 1715327 w 1715327"/>
                      <a:gd name="connsiteY6" fmla="*/ 398728 h 813730"/>
                      <a:gd name="connsiteX7" fmla="*/ 1715327 w 1715327"/>
                      <a:gd name="connsiteY7" fmla="*/ 813730 h 813730"/>
                      <a:gd name="connsiteX8" fmla="*/ 1531048 w 1715327"/>
                      <a:gd name="connsiteY8" fmla="*/ 813730 h 813730"/>
                      <a:gd name="connsiteX9" fmla="*/ 1432048 w 1715327"/>
                      <a:gd name="connsiteY9" fmla="*/ 813730 h 813730"/>
                      <a:gd name="connsiteX10" fmla="*/ 983340 w 1715327"/>
                      <a:gd name="connsiteY10" fmla="*/ 813730 h 813730"/>
                      <a:gd name="connsiteX11" fmla="*/ 505990 w 1715327"/>
                      <a:gd name="connsiteY11" fmla="*/ 813730 h 813730"/>
                      <a:gd name="connsiteX12" fmla="*/ 0 w 1715327"/>
                      <a:gd name="connsiteY12" fmla="*/ 813730 h 813730"/>
                      <a:gd name="connsiteX13" fmla="*/ 0 w 1715327"/>
                      <a:gd name="connsiteY13" fmla="*/ 481725 h 813730"/>
                      <a:gd name="connsiteX14" fmla="*/ 91496 w 1715327"/>
                      <a:gd name="connsiteY14" fmla="*/ 406865 h 813730"/>
                      <a:gd name="connsiteX15" fmla="*/ 0 w 1715327"/>
                      <a:gd name="connsiteY15" fmla="*/ 332004 h 813730"/>
                      <a:gd name="connsiteX16" fmla="*/ 0 w 1715327"/>
                      <a:gd name="connsiteY16" fmla="*/ 0 h 8137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715327" h="813730" extrusionOk="0">
                        <a:moveTo>
                          <a:pt x="0" y="0"/>
                        </a:moveTo>
                        <a:cubicBezTo>
                          <a:pt x="140416" y="14360"/>
                          <a:pt x="270690" y="-10638"/>
                          <a:pt x="448708" y="0"/>
                        </a:cubicBezTo>
                        <a:cubicBezTo>
                          <a:pt x="626726" y="10638"/>
                          <a:pt x="695334" y="-18118"/>
                          <a:pt x="911737" y="0"/>
                        </a:cubicBezTo>
                        <a:cubicBezTo>
                          <a:pt x="1128140" y="18118"/>
                          <a:pt x="1199790" y="-18796"/>
                          <a:pt x="1432048" y="0"/>
                        </a:cubicBezTo>
                        <a:cubicBezTo>
                          <a:pt x="1469198" y="566"/>
                          <a:pt x="1494805" y="-2249"/>
                          <a:pt x="1531048" y="0"/>
                        </a:cubicBezTo>
                        <a:cubicBezTo>
                          <a:pt x="1596604" y="8755"/>
                          <a:pt x="1661466" y="6665"/>
                          <a:pt x="1715327" y="0"/>
                        </a:cubicBezTo>
                        <a:cubicBezTo>
                          <a:pt x="1696412" y="91248"/>
                          <a:pt x="1723059" y="292955"/>
                          <a:pt x="1715327" y="398728"/>
                        </a:cubicBezTo>
                        <a:cubicBezTo>
                          <a:pt x="1707595" y="504501"/>
                          <a:pt x="1695390" y="690823"/>
                          <a:pt x="1715327" y="813730"/>
                        </a:cubicBezTo>
                        <a:cubicBezTo>
                          <a:pt x="1636921" y="813130"/>
                          <a:pt x="1614051" y="805812"/>
                          <a:pt x="1531048" y="813730"/>
                        </a:cubicBezTo>
                        <a:cubicBezTo>
                          <a:pt x="1492674" y="811370"/>
                          <a:pt x="1458490" y="810338"/>
                          <a:pt x="1432048" y="813730"/>
                        </a:cubicBezTo>
                        <a:cubicBezTo>
                          <a:pt x="1271647" y="815908"/>
                          <a:pt x="1100707" y="819827"/>
                          <a:pt x="983340" y="813730"/>
                        </a:cubicBezTo>
                        <a:cubicBezTo>
                          <a:pt x="865973" y="807633"/>
                          <a:pt x="619479" y="797788"/>
                          <a:pt x="505990" y="813730"/>
                        </a:cubicBezTo>
                        <a:cubicBezTo>
                          <a:pt x="392501" y="829673"/>
                          <a:pt x="105583" y="836927"/>
                          <a:pt x="0" y="813730"/>
                        </a:cubicBezTo>
                        <a:cubicBezTo>
                          <a:pt x="12878" y="725867"/>
                          <a:pt x="-1420" y="607263"/>
                          <a:pt x="0" y="481725"/>
                        </a:cubicBezTo>
                        <a:cubicBezTo>
                          <a:pt x="44720" y="444556"/>
                          <a:pt x="54639" y="439166"/>
                          <a:pt x="91496" y="406865"/>
                        </a:cubicBezTo>
                        <a:cubicBezTo>
                          <a:pt x="67914" y="387060"/>
                          <a:pt x="41876" y="373464"/>
                          <a:pt x="0" y="332004"/>
                        </a:cubicBezTo>
                        <a:cubicBezTo>
                          <a:pt x="10522" y="242790"/>
                          <a:pt x="-889" y="154608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75" name="Freihandform: Form 74">
            <a:extLst>
              <a:ext uri="{FF2B5EF4-FFF2-40B4-BE49-F238E27FC236}">
                <a16:creationId xmlns:a16="http://schemas.microsoft.com/office/drawing/2014/main" id="{ACE87647-293B-C1C0-E015-3E37B9664A13}"/>
              </a:ext>
            </a:extLst>
          </p:cNvPr>
          <p:cNvSpPr/>
          <p:nvPr/>
        </p:nvSpPr>
        <p:spPr>
          <a:xfrm>
            <a:off x="10711284" y="1477088"/>
            <a:ext cx="1318021" cy="615554"/>
          </a:xfrm>
          <a:custGeom>
            <a:avLst/>
            <a:gdLst>
              <a:gd name="connsiteX0" fmla="*/ 0 w 1318021"/>
              <a:gd name="connsiteY0" fmla="*/ 0 h 615554"/>
              <a:gd name="connsiteX1" fmla="*/ 539174 w 1318021"/>
              <a:gd name="connsiteY1" fmla="*/ 0 h 615554"/>
              <a:gd name="connsiteX2" fmla="*/ 1100355 w 1318021"/>
              <a:gd name="connsiteY2" fmla="*/ 0 h 615554"/>
              <a:gd name="connsiteX3" fmla="*/ 1176425 w 1318021"/>
              <a:gd name="connsiteY3" fmla="*/ 0 h 615554"/>
              <a:gd name="connsiteX4" fmla="*/ 1318021 w 1318021"/>
              <a:gd name="connsiteY4" fmla="*/ 0 h 615554"/>
              <a:gd name="connsiteX5" fmla="*/ 1318021 w 1318021"/>
              <a:gd name="connsiteY5" fmla="*/ 615554 h 615554"/>
              <a:gd name="connsiteX6" fmla="*/ 1176425 w 1318021"/>
              <a:gd name="connsiteY6" fmla="*/ 615554 h 615554"/>
              <a:gd name="connsiteX7" fmla="*/ 1100355 w 1318021"/>
              <a:gd name="connsiteY7" fmla="*/ 615554 h 615554"/>
              <a:gd name="connsiteX8" fmla="*/ 561181 w 1318021"/>
              <a:gd name="connsiteY8" fmla="*/ 615554 h 615554"/>
              <a:gd name="connsiteX9" fmla="*/ 0 w 1318021"/>
              <a:gd name="connsiteY9" fmla="*/ 615554 h 615554"/>
              <a:gd name="connsiteX10" fmla="*/ 0 w 1318021"/>
              <a:gd name="connsiteY10" fmla="*/ 364405 h 615554"/>
              <a:gd name="connsiteX11" fmla="*/ 70304 w 1318021"/>
              <a:gd name="connsiteY11" fmla="*/ 307777 h 615554"/>
              <a:gd name="connsiteX12" fmla="*/ 0 w 1318021"/>
              <a:gd name="connsiteY12" fmla="*/ 251148 h 615554"/>
              <a:gd name="connsiteX13" fmla="*/ 0 w 1318021"/>
              <a:gd name="connsiteY13" fmla="*/ 0 h 615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18021" h="615554" extrusionOk="0">
                <a:moveTo>
                  <a:pt x="0" y="0"/>
                </a:moveTo>
                <a:cubicBezTo>
                  <a:pt x="238458" y="-16564"/>
                  <a:pt x="374421" y="-3592"/>
                  <a:pt x="539174" y="0"/>
                </a:cubicBezTo>
                <a:cubicBezTo>
                  <a:pt x="703927" y="3592"/>
                  <a:pt x="976006" y="-980"/>
                  <a:pt x="1100355" y="0"/>
                </a:cubicBezTo>
                <a:cubicBezTo>
                  <a:pt x="1119073" y="1816"/>
                  <a:pt x="1143687" y="-2238"/>
                  <a:pt x="1176425" y="0"/>
                </a:cubicBezTo>
                <a:cubicBezTo>
                  <a:pt x="1220735" y="2566"/>
                  <a:pt x="1258447" y="466"/>
                  <a:pt x="1318021" y="0"/>
                </a:cubicBezTo>
                <a:cubicBezTo>
                  <a:pt x="1347082" y="225371"/>
                  <a:pt x="1320923" y="419259"/>
                  <a:pt x="1318021" y="615554"/>
                </a:cubicBezTo>
                <a:cubicBezTo>
                  <a:pt x="1267463" y="609115"/>
                  <a:pt x="1237125" y="611948"/>
                  <a:pt x="1176425" y="615554"/>
                </a:cubicBezTo>
                <a:cubicBezTo>
                  <a:pt x="1153282" y="614825"/>
                  <a:pt x="1130668" y="617227"/>
                  <a:pt x="1100355" y="615554"/>
                </a:cubicBezTo>
                <a:cubicBezTo>
                  <a:pt x="887279" y="591227"/>
                  <a:pt x="772355" y="597196"/>
                  <a:pt x="561181" y="615554"/>
                </a:cubicBezTo>
                <a:cubicBezTo>
                  <a:pt x="350007" y="633912"/>
                  <a:pt x="269200" y="606161"/>
                  <a:pt x="0" y="615554"/>
                </a:cubicBezTo>
                <a:cubicBezTo>
                  <a:pt x="-2144" y="497568"/>
                  <a:pt x="11103" y="429727"/>
                  <a:pt x="0" y="364405"/>
                </a:cubicBezTo>
                <a:cubicBezTo>
                  <a:pt x="24234" y="339949"/>
                  <a:pt x="46502" y="322470"/>
                  <a:pt x="70304" y="307777"/>
                </a:cubicBezTo>
                <a:cubicBezTo>
                  <a:pt x="44775" y="282428"/>
                  <a:pt x="23492" y="275198"/>
                  <a:pt x="0" y="251148"/>
                </a:cubicBezTo>
                <a:cubicBezTo>
                  <a:pt x="-9475" y="179132"/>
                  <a:pt x="-1959" y="105582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568762177">
                  <a:custGeom>
                    <a:avLst/>
                    <a:gdLst>
                      <a:gd name="connsiteX0" fmla="*/ 0 w 4392055"/>
                      <a:gd name="connsiteY0" fmla="*/ 0 h 2546550"/>
                      <a:gd name="connsiteX1" fmla="*/ 3666727 w 4392055"/>
                      <a:gd name="connsiteY1" fmla="*/ 0 h 2546550"/>
                      <a:gd name="connsiteX2" fmla="*/ 3920214 w 4392055"/>
                      <a:gd name="connsiteY2" fmla="*/ 0 h 2546550"/>
                      <a:gd name="connsiteX3" fmla="*/ 4392055 w 4392055"/>
                      <a:gd name="connsiteY3" fmla="*/ 0 h 2546550"/>
                      <a:gd name="connsiteX4" fmla="*/ 4392055 w 4392055"/>
                      <a:gd name="connsiteY4" fmla="*/ 2546550 h 2546550"/>
                      <a:gd name="connsiteX5" fmla="*/ 3920214 w 4392055"/>
                      <a:gd name="connsiteY5" fmla="*/ 2546550 h 2546550"/>
                      <a:gd name="connsiteX6" fmla="*/ 3666727 w 4392055"/>
                      <a:gd name="connsiteY6" fmla="*/ 2546550 h 2546550"/>
                      <a:gd name="connsiteX7" fmla="*/ 0 w 4392055"/>
                      <a:gd name="connsiteY7" fmla="*/ 2546550 h 2546550"/>
                      <a:gd name="connsiteX8" fmla="*/ 0 w 4392055"/>
                      <a:gd name="connsiteY8" fmla="*/ 1507549 h 2546550"/>
                      <a:gd name="connsiteX9" fmla="*/ 234275 w 4392055"/>
                      <a:gd name="connsiteY9" fmla="*/ 1273276 h 2546550"/>
                      <a:gd name="connsiteX10" fmla="*/ 0 w 4392055"/>
                      <a:gd name="connsiteY10" fmla="*/ 1039002 h 2546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392055" h="2546550">
                        <a:moveTo>
                          <a:pt x="0" y="0"/>
                        </a:moveTo>
                        <a:lnTo>
                          <a:pt x="3666727" y="0"/>
                        </a:lnTo>
                        <a:lnTo>
                          <a:pt x="3920214" y="0"/>
                        </a:lnTo>
                        <a:lnTo>
                          <a:pt x="4392055" y="0"/>
                        </a:lnTo>
                        <a:lnTo>
                          <a:pt x="4392055" y="2546550"/>
                        </a:lnTo>
                        <a:lnTo>
                          <a:pt x="3920214" y="2546550"/>
                        </a:lnTo>
                        <a:lnTo>
                          <a:pt x="3666727" y="2546550"/>
                        </a:lnTo>
                        <a:lnTo>
                          <a:pt x="0" y="2546550"/>
                        </a:lnTo>
                        <a:lnTo>
                          <a:pt x="0" y="1507549"/>
                        </a:lnTo>
                        <a:lnTo>
                          <a:pt x="234275" y="1273276"/>
                        </a:lnTo>
                        <a:lnTo>
                          <a:pt x="0" y="1039002"/>
                        </a:ln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76" name="Textplatzhalter 5">
            <a:extLst>
              <a:ext uri="{FF2B5EF4-FFF2-40B4-BE49-F238E27FC236}">
                <a16:creationId xmlns:a16="http://schemas.microsoft.com/office/drawing/2014/main" id="{35B531A3-D2F1-5614-61EA-7018AC39548A}"/>
              </a:ext>
            </a:extLst>
          </p:cNvPr>
          <p:cNvSpPr txBox="1">
            <a:spLocks/>
          </p:cNvSpPr>
          <p:nvPr/>
        </p:nvSpPr>
        <p:spPr>
          <a:xfrm>
            <a:off x="1212296" y="5089824"/>
            <a:ext cx="30512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1">
                <a:solidFill>
                  <a:schemeClr val="bg1"/>
                </a:solidFill>
              </a:rPr>
              <a:t>BC </a:t>
            </a:r>
          </a:p>
        </p:txBody>
      </p:sp>
      <p:sp>
        <p:nvSpPr>
          <p:cNvPr id="77" name="Textplatzhalter 5">
            <a:extLst>
              <a:ext uri="{FF2B5EF4-FFF2-40B4-BE49-F238E27FC236}">
                <a16:creationId xmlns:a16="http://schemas.microsoft.com/office/drawing/2014/main" id="{172137FF-977C-4FD0-E15F-56FDE7204589}"/>
              </a:ext>
            </a:extLst>
          </p:cNvPr>
          <p:cNvSpPr txBox="1">
            <a:spLocks/>
          </p:cNvSpPr>
          <p:nvPr/>
        </p:nvSpPr>
        <p:spPr>
          <a:xfrm>
            <a:off x="2258426" y="4109644"/>
            <a:ext cx="228854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1">
                <a:solidFill>
                  <a:schemeClr val="bg1"/>
                </a:solidFill>
              </a:rPr>
              <a:t>Erweiterung </a:t>
            </a:r>
            <a:r>
              <a:rPr lang="de-DE" sz="1800">
                <a:solidFill>
                  <a:schemeClr val="bg1"/>
                </a:solidFill>
              </a:rPr>
              <a:t>Portfolio</a:t>
            </a:r>
            <a:r>
              <a:rPr lang="de-DE" sz="1800" b="1">
                <a:solidFill>
                  <a:schemeClr val="bg1"/>
                </a:solidFill>
              </a:rPr>
              <a:t> Strahlerzeuger</a:t>
            </a:r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91E7245E-C6C5-2C5B-FF1F-8BF48E0F7376}"/>
              </a:ext>
            </a:extLst>
          </p:cNvPr>
          <p:cNvSpPr txBox="1">
            <a:spLocks/>
          </p:cNvSpPr>
          <p:nvPr/>
        </p:nvSpPr>
        <p:spPr>
          <a:xfrm>
            <a:off x="5007945" y="3193883"/>
            <a:ext cx="24424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bg1"/>
                </a:solidFill>
              </a:rPr>
              <a:t>Weiteres </a:t>
            </a:r>
            <a:r>
              <a:rPr lang="de-DE" b="1">
                <a:solidFill>
                  <a:schemeClr val="bg1"/>
                </a:solidFill>
              </a:rPr>
              <a:t>Wachstum</a:t>
            </a:r>
            <a:r>
              <a:rPr lang="de-DE">
                <a:solidFill>
                  <a:schemeClr val="bg1"/>
                </a:solidFill>
              </a:rPr>
              <a:t> durch  </a:t>
            </a:r>
            <a:r>
              <a:rPr lang="de-DE" b="1">
                <a:solidFill>
                  <a:schemeClr val="bg1"/>
                </a:solidFill>
              </a:rPr>
              <a:t>Redundanz</a:t>
            </a:r>
            <a:r>
              <a:rPr lang="de-DE">
                <a:solidFill>
                  <a:schemeClr val="bg1"/>
                </a:solidFill>
              </a:rPr>
              <a:t> &amp; </a:t>
            </a:r>
            <a:r>
              <a:rPr lang="de-DE" b="1">
                <a:solidFill>
                  <a:schemeClr val="bg1"/>
                </a:solidFill>
              </a:rPr>
              <a:t>Auslastung</a:t>
            </a:r>
            <a:endParaRPr lang="de-DE" sz="1100" b="1">
              <a:solidFill>
                <a:schemeClr val="bg1"/>
              </a:solidFill>
            </a:endParaRPr>
          </a:p>
        </p:txBody>
      </p:sp>
      <p:sp>
        <p:nvSpPr>
          <p:cNvPr id="79" name="Textplatzhalter 5">
            <a:extLst>
              <a:ext uri="{FF2B5EF4-FFF2-40B4-BE49-F238E27FC236}">
                <a16:creationId xmlns:a16="http://schemas.microsoft.com/office/drawing/2014/main" id="{652BCDE1-5554-C88A-C7BE-2429E67B279D}"/>
              </a:ext>
            </a:extLst>
          </p:cNvPr>
          <p:cNvSpPr txBox="1">
            <a:spLocks/>
          </p:cNvSpPr>
          <p:nvPr/>
        </p:nvSpPr>
        <p:spPr>
          <a:xfrm>
            <a:off x="8040292" y="2311600"/>
            <a:ext cx="216560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bg1"/>
                </a:solidFill>
              </a:rPr>
              <a:t>Integration</a:t>
            </a:r>
            <a:r>
              <a:rPr lang="de-DE" b="1">
                <a:solidFill>
                  <a:schemeClr val="bg1"/>
                </a:solidFill>
              </a:rPr>
              <a:t> Zahnstangenprozesse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80" name="Textplatzhalter 5">
            <a:extLst>
              <a:ext uri="{FF2B5EF4-FFF2-40B4-BE49-F238E27FC236}">
                <a16:creationId xmlns:a16="http://schemas.microsoft.com/office/drawing/2014/main" id="{9E901A62-316A-9296-0FF0-162FD22F55C5}"/>
              </a:ext>
            </a:extLst>
          </p:cNvPr>
          <p:cNvSpPr txBox="1">
            <a:spLocks/>
          </p:cNvSpPr>
          <p:nvPr/>
        </p:nvSpPr>
        <p:spPr>
          <a:xfrm>
            <a:off x="10945573" y="1513332"/>
            <a:ext cx="1043620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1">
                <a:solidFill>
                  <a:schemeClr val="bg1"/>
                </a:solidFill>
              </a:rPr>
              <a:t>Vision </a:t>
            </a:r>
            <a:r>
              <a:rPr lang="de-DE" sz="1400" b="1">
                <a:solidFill>
                  <a:schemeClr val="bg1"/>
                </a:solidFill>
              </a:rPr>
              <a:t>180.000h</a:t>
            </a:r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82" name="Grafik 81" descr="Präsentation mit Checkliste mit einfarbiger Füllung">
            <a:extLst>
              <a:ext uri="{FF2B5EF4-FFF2-40B4-BE49-F238E27FC236}">
                <a16:creationId xmlns:a16="http://schemas.microsoft.com/office/drawing/2014/main" id="{EF10B8D5-CC3F-5D91-E920-57D5B4733D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04437" y="5012138"/>
            <a:ext cx="432369" cy="43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51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Bildplatzhalter 6">
            <a:extLst>
              <a:ext uri="{FF2B5EF4-FFF2-40B4-BE49-F238E27FC236}">
                <a16:creationId xmlns:a16="http://schemas.microsoft.com/office/drawing/2014/main" id="{21FF2434-973E-D7FE-1D1B-C20B2FB2D7F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t="34425" b="30407"/>
          <a:stretch/>
        </p:blipFill>
        <p:spPr>
          <a:xfrm>
            <a:off x="3635405" y="3011203"/>
            <a:ext cx="4915692" cy="136192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F15D779-133A-8E28-9E2E-615A30FCB1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5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84E35F-37D1-509D-01B0-37D028916E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Oliver Türk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25870CF-E204-6FBE-4E8C-F860BE5EC23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CB332E-BBCB-48A0-9BB4-8D3541D6C39B}" type="datetime1">
              <a:rPr lang="de-DE" smtClean="0"/>
              <a:pPr/>
              <a:t>20.04.20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B9E8CB-89FB-F087-D7FB-2D28371A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49" y="272272"/>
            <a:ext cx="3571763" cy="868362"/>
          </a:xfrm>
        </p:spPr>
        <p:txBody>
          <a:bodyPr/>
          <a:lstStyle/>
          <a:p>
            <a:r>
              <a:rPr lang="de-DE"/>
              <a:t>Zahlen, Daten, Fak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323F29-C04F-3165-51A1-714BC98B0E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6185" y="753729"/>
            <a:ext cx="1754020" cy="387798"/>
          </a:xfrm>
        </p:spPr>
        <p:txBody>
          <a:bodyPr/>
          <a:lstStyle/>
          <a:p>
            <a:r>
              <a:rPr lang="de-DE"/>
              <a:t>Auf einen Blick</a:t>
            </a:r>
          </a:p>
        </p:txBody>
      </p:sp>
      <p:sp>
        <p:nvSpPr>
          <p:cNvPr id="31" name="Textplatzhalter 5">
            <a:extLst>
              <a:ext uri="{FF2B5EF4-FFF2-40B4-BE49-F238E27FC236}">
                <a16:creationId xmlns:a16="http://schemas.microsoft.com/office/drawing/2014/main" id="{E827315B-88A8-9F29-0177-45B75D4BCF21}"/>
              </a:ext>
            </a:extLst>
          </p:cNvPr>
          <p:cNvSpPr txBox="1">
            <a:spLocks/>
          </p:cNvSpPr>
          <p:nvPr/>
        </p:nvSpPr>
        <p:spPr>
          <a:xfrm>
            <a:off x="3635405" y="1219226"/>
            <a:ext cx="2377985" cy="1623605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2000"/>
              <a:gd name="connsiteY0" fmla="*/ 20143 h 1177989"/>
              <a:gd name="connsiteX1" fmla="*/ 786179 w 1692000"/>
              <a:gd name="connsiteY1" fmla="*/ 0 h 1177989"/>
              <a:gd name="connsiteX2" fmla="*/ 1692000 w 1692000"/>
              <a:gd name="connsiteY2" fmla="*/ 20143 h 1177989"/>
              <a:gd name="connsiteX3" fmla="*/ 1692000 w 1692000"/>
              <a:gd name="connsiteY3" fmla="*/ 1177989 h 1177989"/>
              <a:gd name="connsiteX4" fmla="*/ 0 w 1692000"/>
              <a:gd name="connsiteY4" fmla="*/ 1177989 h 1177989"/>
              <a:gd name="connsiteX5" fmla="*/ 0 w 1692000"/>
              <a:gd name="connsiteY5" fmla="*/ 20143 h 1177989"/>
              <a:gd name="connsiteX0" fmla="*/ 786179 w 1692000"/>
              <a:gd name="connsiteY0" fmla="*/ 0 h 1177989"/>
              <a:gd name="connsiteX1" fmla="*/ 1692000 w 1692000"/>
              <a:gd name="connsiteY1" fmla="*/ 20143 h 1177989"/>
              <a:gd name="connsiteX2" fmla="*/ 1692000 w 1692000"/>
              <a:gd name="connsiteY2" fmla="*/ 1177989 h 1177989"/>
              <a:gd name="connsiteX3" fmla="*/ 0 w 1692000"/>
              <a:gd name="connsiteY3" fmla="*/ 1177989 h 1177989"/>
              <a:gd name="connsiteX4" fmla="*/ 0 w 1692000"/>
              <a:gd name="connsiteY4" fmla="*/ 20143 h 1177989"/>
              <a:gd name="connsiteX5" fmla="*/ 877619 w 1692000"/>
              <a:gd name="connsiteY5" fmla="*/ 91440 h 1177989"/>
              <a:gd name="connsiteX0" fmla="*/ 786179 w 1692000"/>
              <a:gd name="connsiteY0" fmla="*/ 0 h 1177989"/>
              <a:gd name="connsiteX1" fmla="*/ 1692000 w 1692000"/>
              <a:gd name="connsiteY1" fmla="*/ 20143 h 1177989"/>
              <a:gd name="connsiteX2" fmla="*/ 1692000 w 1692000"/>
              <a:gd name="connsiteY2" fmla="*/ 1177989 h 1177989"/>
              <a:gd name="connsiteX3" fmla="*/ 0 w 1692000"/>
              <a:gd name="connsiteY3" fmla="*/ 1177989 h 1177989"/>
              <a:gd name="connsiteX4" fmla="*/ 0 w 1692000"/>
              <a:gd name="connsiteY4" fmla="*/ 20143 h 1177989"/>
              <a:gd name="connsiteX0" fmla="*/ 1692000 w 1692000"/>
              <a:gd name="connsiteY0" fmla="*/ 0 h 1157846"/>
              <a:gd name="connsiteX1" fmla="*/ 1692000 w 1692000"/>
              <a:gd name="connsiteY1" fmla="*/ 1157846 h 1157846"/>
              <a:gd name="connsiteX2" fmla="*/ 0 w 1692000"/>
              <a:gd name="connsiteY2" fmla="*/ 1157846 h 1157846"/>
              <a:gd name="connsiteX3" fmla="*/ 0 w 1692000"/>
              <a:gd name="connsiteY3" fmla="*/ 0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0" h="1157846">
                <a:moveTo>
                  <a:pt x="1692000" y="0"/>
                </a:moveTo>
                <a:lnTo>
                  <a:pt x="1692000" y="1157846"/>
                </a:lnTo>
                <a:lnTo>
                  <a:pt x="0" y="1157846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3" name="Textplatzhalter 5">
            <a:extLst>
              <a:ext uri="{FF2B5EF4-FFF2-40B4-BE49-F238E27FC236}">
                <a16:creationId xmlns:a16="http://schemas.microsoft.com/office/drawing/2014/main" id="{247D8D11-DE09-4238-72E1-3F5F8BF45839}"/>
              </a:ext>
            </a:extLst>
          </p:cNvPr>
          <p:cNvSpPr txBox="1">
            <a:spLocks/>
          </p:cNvSpPr>
          <p:nvPr/>
        </p:nvSpPr>
        <p:spPr>
          <a:xfrm>
            <a:off x="1092200" y="1219226"/>
            <a:ext cx="2377985" cy="1623605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91440 w 1692000"/>
              <a:gd name="connsiteY4" fmla="*/ 91440 h 1157846"/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0" fmla="*/ 1692000 w 1692000"/>
              <a:gd name="connsiteY0" fmla="*/ 0 h 1157846"/>
              <a:gd name="connsiteX1" fmla="*/ 1692000 w 1692000"/>
              <a:gd name="connsiteY1" fmla="*/ 1157846 h 1157846"/>
              <a:gd name="connsiteX2" fmla="*/ 0 w 1692000"/>
              <a:gd name="connsiteY2" fmla="*/ 1157846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000" h="1157846">
                <a:moveTo>
                  <a:pt x="1692000" y="0"/>
                </a:moveTo>
                <a:lnTo>
                  <a:pt x="1692000" y="1157846"/>
                </a:lnTo>
                <a:lnTo>
                  <a:pt x="0" y="1157846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FF5634AC-D951-4FCA-7E17-0F1AA1DE9F94}"/>
              </a:ext>
            </a:extLst>
          </p:cNvPr>
          <p:cNvSpPr txBox="1">
            <a:spLocks/>
          </p:cNvSpPr>
          <p:nvPr/>
        </p:nvSpPr>
        <p:spPr>
          <a:xfrm>
            <a:off x="8721815" y="1208596"/>
            <a:ext cx="2377985" cy="1634235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1692000 w 1783440"/>
              <a:gd name="connsiteY0" fmla="*/ 0 h 1157846"/>
              <a:gd name="connsiteX1" fmla="*/ 1692000 w 1783440"/>
              <a:gd name="connsiteY1" fmla="*/ 1157846 h 1157846"/>
              <a:gd name="connsiteX2" fmla="*/ 0 w 1783440"/>
              <a:gd name="connsiteY2" fmla="*/ 1157846 h 1157846"/>
              <a:gd name="connsiteX3" fmla="*/ 0 w 1783440"/>
              <a:gd name="connsiteY3" fmla="*/ 0 h 1157846"/>
              <a:gd name="connsiteX4" fmla="*/ 1783440 w 1783440"/>
              <a:gd name="connsiteY4" fmla="*/ 91440 h 1157846"/>
              <a:gd name="connsiteX0" fmla="*/ 1692000 w 1692000"/>
              <a:gd name="connsiteY0" fmla="*/ 0 h 1157846"/>
              <a:gd name="connsiteX1" fmla="*/ 1692000 w 1692000"/>
              <a:gd name="connsiteY1" fmla="*/ 1157846 h 1157846"/>
              <a:gd name="connsiteX2" fmla="*/ 0 w 1692000"/>
              <a:gd name="connsiteY2" fmla="*/ 1157846 h 1157846"/>
              <a:gd name="connsiteX3" fmla="*/ 0 w 1692000"/>
              <a:gd name="connsiteY3" fmla="*/ 0 h 1157846"/>
              <a:gd name="connsiteX0" fmla="*/ 1692000 w 1692000"/>
              <a:gd name="connsiteY0" fmla="*/ 1157846 h 1157846"/>
              <a:gd name="connsiteX1" fmla="*/ 0 w 1692000"/>
              <a:gd name="connsiteY1" fmla="*/ 1157846 h 1157846"/>
              <a:gd name="connsiteX2" fmla="*/ 0 w 1692000"/>
              <a:gd name="connsiteY2" fmla="*/ 0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000" h="1157846">
                <a:moveTo>
                  <a:pt x="1692000" y="1157846"/>
                </a:moveTo>
                <a:lnTo>
                  <a:pt x="0" y="1157846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5" name="Textplatzhalter 5">
            <a:extLst>
              <a:ext uri="{FF2B5EF4-FFF2-40B4-BE49-F238E27FC236}">
                <a16:creationId xmlns:a16="http://schemas.microsoft.com/office/drawing/2014/main" id="{763B57B9-A791-A715-0B3F-67433F8131ED}"/>
              </a:ext>
            </a:extLst>
          </p:cNvPr>
          <p:cNvSpPr txBox="1">
            <a:spLocks/>
          </p:cNvSpPr>
          <p:nvPr/>
        </p:nvSpPr>
        <p:spPr>
          <a:xfrm>
            <a:off x="1092201" y="3009654"/>
            <a:ext cx="2377985" cy="1364219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3241 w 1695241"/>
              <a:gd name="connsiteY0" fmla="*/ 0 h 1157846"/>
              <a:gd name="connsiteX1" fmla="*/ 1695241 w 1695241"/>
              <a:gd name="connsiteY1" fmla="*/ 0 h 1157846"/>
              <a:gd name="connsiteX2" fmla="*/ 1695241 w 1695241"/>
              <a:gd name="connsiteY2" fmla="*/ 1157846 h 1157846"/>
              <a:gd name="connsiteX3" fmla="*/ 3241 w 1695241"/>
              <a:gd name="connsiteY3" fmla="*/ 1157846 h 1157846"/>
              <a:gd name="connsiteX4" fmla="*/ 0 w 1695241"/>
              <a:gd name="connsiteY4" fmla="*/ 518750 h 1157846"/>
              <a:gd name="connsiteX5" fmla="*/ 3241 w 1695241"/>
              <a:gd name="connsiteY5" fmla="*/ 0 h 1157846"/>
              <a:gd name="connsiteX0" fmla="*/ 0 w 1695241"/>
              <a:gd name="connsiteY0" fmla="*/ 518750 h 1157846"/>
              <a:gd name="connsiteX1" fmla="*/ 3241 w 1695241"/>
              <a:gd name="connsiteY1" fmla="*/ 0 h 1157846"/>
              <a:gd name="connsiteX2" fmla="*/ 1695241 w 1695241"/>
              <a:gd name="connsiteY2" fmla="*/ 0 h 1157846"/>
              <a:gd name="connsiteX3" fmla="*/ 1695241 w 1695241"/>
              <a:gd name="connsiteY3" fmla="*/ 1157846 h 1157846"/>
              <a:gd name="connsiteX4" fmla="*/ 3241 w 1695241"/>
              <a:gd name="connsiteY4" fmla="*/ 1157846 h 1157846"/>
              <a:gd name="connsiteX5" fmla="*/ 91440 w 1695241"/>
              <a:gd name="connsiteY5" fmla="*/ 610190 h 1157846"/>
              <a:gd name="connsiteX0" fmla="*/ 0 w 1695241"/>
              <a:gd name="connsiteY0" fmla="*/ 518750 h 1157846"/>
              <a:gd name="connsiteX1" fmla="*/ 3241 w 1695241"/>
              <a:gd name="connsiteY1" fmla="*/ 0 h 1157846"/>
              <a:gd name="connsiteX2" fmla="*/ 1695241 w 1695241"/>
              <a:gd name="connsiteY2" fmla="*/ 0 h 1157846"/>
              <a:gd name="connsiteX3" fmla="*/ 1695241 w 1695241"/>
              <a:gd name="connsiteY3" fmla="*/ 1157846 h 1157846"/>
              <a:gd name="connsiteX4" fmla="*/ 3241 w 1695241"/>
              <a:gd name="connsiteY4" fmla="*/ 1157846 h 1157846"/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0" h="1157846">
                <a:moveTo>
                  <a:pt x="0" y="0"/>
                </a:moveTo>
                <a:lnTo>
                  <a:pt x="1692000" y="0"/>
                </a:lnTo>
                <a:lnTo>
                  <a:pt x="1692000" y="1157846"/>
                </a:lnTo>
                <a:lnTo>
                  <a:pt x="0" y="1157846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6" name="Textplatzhalter 5">
            <a:extLst>
              <a:ext uri="{FF2B5EF4-FFF2-40B4-BE49-F238E27FC236}">
                <a16:creationId xmlns:a16="http://schemas.microsoft.com/office/drawing/2014/main" id="{DC2E6E4F-4A74-32D3-EAB0-EE3F07CD46DA}"/>
              </a:ext>
            </a:extLst>
          </p:cNvPr>
          <p:cNvSpPr txBox="1">
            <a:spLocks/>
          </p:cNvSpPr>
          <p:nvPr/>
        </p:nvSpPr>
        <p:spPr>
          <a:xfrm>
            <a:off x="8721815" y="3009654"/>
            <a:ext cx="2377985" cy="1364219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5240"/>
              <a:gd name="connsiteY0" fmla="*/ 0 h 1157846"/>
              <a:gd name="connsiteX1" fmla="*/ 1692000 w 1695240"/>
              <a:gd name="connsiteY1" fmla="*/ 0 h 1157846"/>
              <a:gd name="connsiteX2" fmla="*/ 1695240 w 1695240"/>
              <a:gd name="connsiteY2" fmla="*/ 556850 h 1157846"/>
              <a:gd name="connsiteX3" fmla="*/ 1692000 w 1695240"/>
              <a:gd name="connsiteY3" fmla="*/ 1157846 h 1157846"/>
              <a:gd name="connsiteX4" fmla="*/ 0 w 1695240"/>
              <a:gd name="connsiteY4" fmla="*/ 1157846 h 1157846"/>
              <a:gd name="connsiteX5" fmla="*/ 0 w 1695240"/>
              <a:gd name="connsiteY5" fmla="*/ 0 h 1157846"/>
              <a:gd name="connsiteX0" fmla="*/ 1695240 w 1786680"/>
              <a:gd name="connsiteY0" fmla="*/ 556850 h 1157846"/>
              <a:gd name="connsiteX1" fmla="*/ 1692000 w 1786680"/>
              <a:gd name="connsiteY1" fmla="*/ 1157846 h 1157846"/>
              <a:gd name="connsiteX2" fmla="*/ 0 w 1786680"/>
              <a:gd name="connsiteY2" fmla="*/ 1157846 h 1157846"/>
              <a:gd name="connsiteX3" fmla="*/ 0 w 1786680"/>
              <a:gd name="connsiteY3" fmla="*/ 0 h 1157846"/>
              <a:gd name="connsiteX4" fmla="*/ 1692000 w 1786680"/>
              <a:gd name="connsiteY4" fmla="*/ 0 h 1157846"/>
              <a:gd name="connsiteX5" fmla="*/ 1786680 w 1786680"/>
              <a:gd name="connsiteY5" fmla="*/ 648290 h 1157846"/>
              <a:gd name="connsiteX0" fmla="*/ 1695240 w 1695240"/>
              <a:gd name="connsiteY0" fmla="*/ 556850 h 1157846"/>
              <a:gd name="connsiteX1" fmla="*/ 1692000 w 1695240"/>
              <a:gd name="connsiteY1" fmla="*/ 1157846 h 1157846"/>
              <a:gd name="connsiteX2" fmla="*/ 0 w 1695240"/>
              <a:gd name="connsiteY2" fmla="*/ 1157846 h 1157846"/>
              <a:gd name="connsiteX3" fmla="*/ 0 w 1695240"/>
              <a:gd name="connsiteY3" fmla="*/ 0 h 1157846"/>
              <a:gd name="connsiteX4" fmla="*/ 1692000 w 1695240"/>
              <a:gd name="connsiteY4" fmla="*/ 0 h 1157846"/>
              <a:gd name="connsiteX0" fmla="*/ 1692000 w 1692000"/>
              <a:gd name="connsiteY0" fmla="*/ 1157846 h 1157846"/>
              <a:gd name="connsiteX1" fmla="*/ 0 w 1692000"/>
              <a:gd name="connsiteY1" fmla="*/ 1157846 h 1157846"/>
              <a:gd name="connsiteX2" fmla="*/ 0 w 1692000"/>
              <a:gd name="connsiteY2" fmla="*/ 0 h 1157846"/>
              <a:gd name="connsiteX3" fmla="*/ 1692000 w 1692000"/>
              <a:gd name="connsiteY3" fmla="*/ 0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0" h="1157846">
                <a:moveTo>
                  <a:pt x="1692000" y="1157846"/>
                </a:moveTo>
                <a:lnTo>
                  <a:pt x="0" y="1157846"/>
                </a:lnTo>
                <a:lnTo>
                  <a:pt x="0" y="0"/>
                </a:lnTo>
                <a:lnTo>
                  <a:pt x="1692000" y="0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7" name="Textplatzhalter 5">
            <a:extLst>
              <a:ext uri="{FF2B5EF4-FFF2-40B4-BE49-F238E27FC236}">
                <a16:creationId xmlns:a16="http://schemas.microsoft.com/office/drawing/2014/main" id="{DBA4F665-788B-8DFE-888B-9DD1488CDB58}"/>
              </a:ext>
            </a:extLst>
          </p:cNvPr>
          <p:cNvSpPr txBox="1">
            <a:spLocks/>
          </p:cNvSpPr>
          <p:nvPr/>
        </p:nvSpPr>
        <p:spPr>
          <a:xfrm>
            <a:off x="8721815" y="4540697"/>
            <a:ext cx="2377985" cy="1608444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1692000 w 1783440"/>
              <a:gd name="connsiteY0" fmla="*/ 1157846 h 1249286"/>
              <a:gd name="connsiteX1" fmla="*/ 0 w 1783440"/>
              <a:gd name="connsiteY1" fmla="*/ 1157846 h 1249286"/>
              <a:gd name="connsiteX2" fmla="*/ 0 w 1783440"/>
              <a:gd name="connsiteY2" fmla="*/ 0 h 1249286"/>
              <a:gd name="connsiteX3" fmla="*/ 1692000 w 1783440"/>
              <a:gd name="connsiteY3" fmla="*/ 0 h 1249286"/>
              <a:gd name="connsiteX4" fmla="*/ 1783440 w 1783440"/>
              <a:gd name="connsiteY4" fmla="*/ 1249286 h 1249286"/>
              <a:gd name="connsiteX0" fmla="*/ 1692000 w 1692000"/>
              <a:gd name="connsiteY0" fmla="*/ 1157846 h 1157846"/>
              <a:gd name="connsiteX1" fmla="*/ 0 w 1692000"/>
              <a:gd name="connsiteY1" fmla="*/ 1157846 h 1157846"/>
              <a:gd name="connsiteX2" fmla="*/ 0 w 1692000"/>
              <a:gd name="connsiteY2" fmla="*/ 0 h 1157846"/>
              <a:gd name="connsiteX3" fmla="*/ 1692000 w 1692000"/>
              <a:gd name="connsiteY3" fmla="*/ 0 h 1157846"/>
              <a:gd name="connsiteX0" fmla="*/ 0 w 1692000"/>
              <a:gd name="connsiteY0" fmla="*/ 1157846 h 1157846"/>
              <a:gd name="connsiteX1" fmla="*/ 0 w 1692000"/>
              <a:gd name="connsiteY1" fmla="*/ 0 h 1157846"/>
              <a:gd name="connsiteX2" fmla="*/ 1692000 w 1692000"/>
              <a:gd name="connsiteY2" fmla="*/ 0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000" h="1157846">
                <a:moveTo>
                  <a:pt x="0" y="1157846"/>
                </a:moveTo>
                <a:lnTo>
                  <a:pt x="0" y="0"/>
                </a:lnTo>
                <a:lnTo>
                  <a:pt x="1692000" y="0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4A8BFEB3-239D-3602-A33E-A0D3D821D378}"/>
              </a:ext>
            </a:extLst>
          </p:cNvPr>
          <p:cNvSpPr txBox="1">
            <a:spLocks/>
          </p:cNvSpPr>
          <p:nvPr/>
        </p:nvSpPr>
        <p:spPr>
          <a:xfrm>
            <a:off x="6178610" y="4540697"/>
            <a:ext cx="2377985" cy="1608444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820566 w 1692000"/>
              <a:gd name="connsiteY3" fmla="*/ 1154669 h 1157846"/>
              <a:gd name="connsiteX4" fmla="*/ 0 w 1692000"/>
              <a:gd name="connsiteY4" fmla="*/ 1157846 h 1157846"/>
              <a:gd name="connsiteX5" fmla="*/ 0 w 1692000"/>
              <a:gd name="connsiteY5" fmla="*/ 0 h 1157846"/>
              <a:gd name="connsiteX0" fmla="*/ 820566 w 1692000"/>
              <a:gd name="connsiteY0" fmla="*/ 1154669 h 1246109"/>
              <a:gd name="connsiteX1" fmla="*/ 0 w 1692000"/>
              <a:gd name="connsiteY1" fmla="*/ 1157846 h 1246109"/>
              <a:gd name="connsiteX2" fmla="*/ 0 w 1692000"/>
              <a:gd name="connsiteY2" fmla="*/ 0 h 1246109"/>
              <a:gd name="connsiteX3" fmla="*/ 1692000 w 1692000"/>
              <a:gd name="connsiteY3" fmla="*/ 0 h 1246109"/>
              <a:gd name="connsiteX4" fmla="*/ 1692000 w 1692000"/>
              <a:gd name="connsiteY4" fmla="*/ 1157846 h 1246109"/>
              <a:gd name="connsiteX5" fmla="*/ 912006 w 1692000"/>
              <a:gd name="connsiteY5" fmla="*/ 1246109 h 1246109"/>
              <a:gd name="connsiteX0" fmla="*/ 820566 w 1692000"/>
              <a:gd name="connsiteY0" fmla="*/ 1154669 h 1157846"/>
              <a:gd name="connsiteX1" fmla="*/ 0 w 1692000"/>
              <a:gd name="connsiteY1" fmla="*/ 1157846 h 1157846"/>
              <a:gd name="connsiteX2" fmla="*/ 0 w 1692000"/>
              <a:gd name="connsiteY2" fmla="*/ 0 h 1157846"/>
              <a:gd name="connsiteX3" fmla="*/ 1692000 w 1692000"/>
              <a:gd name="connsiteY3" fmla="*/ 0 h 1157846"/>
              <a:gd name="connsiteX4" fmla="*/ 1692000 w 1692000"/>
              <a:gd name="connsiteY4" fmla="*/ 1157846 h 1157846"/>
              <a:gd name="connsiteX0" fmla="*/ 0 w 1692000"/>
              <a:gd name="connsiteY0" fmla="*/ 1157846 h 1157846"/>
              <a:gd name="connsiteX1" fmla="*/ 0 w 1692000"/>
              <a:gd name="connsiteY1" fmla="*/ 0 h 1157846"/>
              <a:gd name="connsiteX2" fmla="*/ 1692000 w 1692000"/>
              <a:gd name="connsiteY2" fmla="*/ 0 h 1157846"/>
              <a:gd name="connsiteX3" fmla="*/ 1692000 w 1692000"/>
              <a:gd name="connsiteY3" fmla="*/ 1157846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0" h="1157846">
                <a:moveTo>
                  <a:pt x="0" y="1157846"/>
                </a:moveTo>
                <a:lnTo>
                  <a:pt x="0" y="0"/>
                </a:lnTo>
                <a:lnTo>
                  <a:pt x="1692000" y="0"/>
                </a:lnTo>
                <a:lnTo>
                  <a:pt x="1692000" y="1157846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EEE6A84B-59A2-65C7-2905-1E4C05C60B9D}"/>
              </a:ext>
            </a:extLst>
          </p:cNvPr>
          <p:cNvSpPr txBox="1">
            <a:spLocks/>
          </p:cNvSpPr>
          <p:nvPr/>
        </p:nvSpPr>
        <p:spPr>
          <a:xfrm>
            <a:off x="3635405" y="4540697"/>
            <a:ext cx="2377985" cy="1608444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2000"/>
              <a:gd name="connsiteY0" fmla="*/ 0 h 1170167"/>
              <a:gd name="connsiteX1" fmla="*/ 1692000 w 1692000"/>
              <a:gd name="connsiteY1" fmla="*/ 0 h 1170167"/>
              <a:gd name="connsiteX2" fmla="*/ 1692000 w 1692000"/>
              <a:gd name="connsiteY2" fmla="*/ 1157846 h 1170167"/>
              <a:gd name="connsiteX3" fmla="*/ 783608 w 1692000"/>
              <a:gd name="connsiteY3" fmla="*/ 1170167 h 1170167"/>
              <a:gd name="connsiteX4" fmla="*/ 0 w 1692000"/>
              <a:gd name="connsiteY4" fmla="*/ 1157846 h 1170167"/>
              <a:gd name="connsiteX5" fmla="*/ 0 w 1692000"/>
              <a:gd name="connsiteY5" fmla="*/ 0 h 1170167"/>
              <a:gd name="connsiteX0" fmla="*/ 783608 w 1692000"/>
              <a:gd name="connsiteY0" fmla="*/ 1170167 h 1261607"/>
              <a:gd name="connsiteX1" fmla="*/ 0 w 1692000"/>
              <a:gd name="connsiteY1" fmla="*/ 1157846 h 1261607"/>
              <a:gd name="connsiteX2" fmla="*/ 0 w 1692000"/>
              <a:gd name="connsiteY2" fmla="*/ 0 h 1261607"/>
              <a:gd name="connsiteX3" fmla="*/ 1692000 w 1692000"/>
              <a:gd name="connsiteY3" fmla="*/ 0 h 1261607"/>
              <a:gd name="connsiteX4" fmla="*/ 1692000 w 1692000"/>
              <a:gd name="connsiteY4" fmla="*/ 1157846 h 1261607"/>
              <a:gd name="connsiteX5" fmla="*/ 875048 w 1692000"/>
              <a:gd name="connsiteY5" fmla="*/ 1261607 h 1261607"/>
              <a:gd name="connsiteX0" fmla="*/ 783608 w 1692000"/>
              <a:gd name="connsiteY0" fmla="*/ 1170167 h 1170167"/>
              <a:gd name="connsiteX1" fmla="*/ 0 w 1692000"/>
              <a:gd name="connsiteY1" fmla="*/ 1157846 h 1170167"/>
              <a:gd name="connsiteX2" fmla="*/ 0 w 1692000"/>
              <a:gd name="connsiteY2" fmla="*/ 0 h 1170167"/>
              <a:gd name="connsiteX3" fmla="*/ 1692000 w 1692000"/>
              <a:gd name="connsiteY3" fmla="*/ 0 h 1170167"/>
              <a:gd name="connsiteX4" fmla="*/ 1692000 w 1692000"/>
              <a:gd name="connsiteY4" fmla="*/ 1157846 h 1170167"/>
              <a:gd name="connsiteX0" fmla="*/ 0 w 1692000"/>
              <a:gd name="connsiteY0" fmla="*/ 1157846 h 1157846"/>
              <a:gd name="connsiteX1" fmla="*/ 0 w 1692000"/>
              <a:gd name="connsiteY1" fmla="*/ 0 h 1157846"/>
              <a:gd name="connsiteX2" fmla="*/ 1692000 w 1692000"/>
              <a:gd name="connsiteY2" fmla="*/ 0 h 1157846"/>
              <a:gd name="connsiteX3" fmla="*/ 1692000 w 1692000"/>
              <a:gd name="connsiteY3" fmla="*/ 1157846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0" h="1157846">
                <a:moveTo>
                  <a:pt x="0" y="1157846"/>
                </a:moveTo>
                <a:lnTo>
                  <a:pt x="0" y="0"/>
                </a:lnTo>
                <a:lnTo>
                  <a:pt x="1692000" y="0"/>
                </a:lnTo>
                <a:lnTo>
                  <a:pt x="1692000" y="1157846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40" name="Textplatzhalter 5">
            <a:extLst>
              <a:ext uri="{FF2B5EF4-FFF2-40B4-BE49-F238E27FC236}">
                <a16:creationId xmlns:a16="http://schemas.microsoft.com/office/drawing/2014/main" id="{4AA1A4AA-FFFB-43B0-CED1-3507B0082664}"/>
              </a:ext>
            </a:extLst>
          </p:cNvPr>
          <p:cNvSpPr txBox="1">
            <a:spLocks/>
          </p:cNvSpPr>
          <p:nvPr/>
        </p:nvSpPr>
        <p:spPr>
          <a:xfrm>
            <a:off x="1092201" y="4540697"/>
            <a:ext cx="2377985" cy="1634502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2000"/>
              <a:gd name="connsiteY0" fmla="*/ 1157846 h 1249286"/>
              <a:gd name="connsiteX1" fmla="*/ 0 w 1692000"/>
              <a:gd name="connsiteY1" fmla="*/ 0 h 1249286"/>
              <a:gd name="connsiteX2" fmla="*/ 1692000 w 1692000"/>
              <a:gd name="connsiteY2" fmla="*/ 0 h 1249286"/>
              <a:gd name="connsiteX3" fmla="*/ 1692000 w 1692000"/>
              <a:gd name="connsiteY3" fmla="*/ 1157846 h 1249286"/>
              <a:gd name="connsiteX4" fmla="*/ 91440 w 1692000"/>
              <a:gd name="connsiteY4" fmla="*/ 1249286 h 1249286"/>
              <a:gd name="connsiteX0" fmla="*/ 0 w 1692000"/>
              <a:gd name="connsiteY0" fmla="*/ 1157846 h 1157846"/>
              <a:gd name="connsiteX1" fmla="*/ 0 w 1692000"/>
              <a:gd name="connsiteY1" fmla="*/ 0 h 1157846"/>
              <a:gd name="connsiteX2" fmla="*/ 1692000 w 1692000"/>
              <a:gd name="connsiteY2" fmla="*/ 0 h 1157846"/>
              <a:gd name="connsiteX3" fmla="*/ 1692000 w 1692000"/>
              <a:gd name="connsiteY3" fmla="*/ 1157846 h 1157846"/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000" h="1157846">
                <a:moveTo>
                  <a:pt x="0" y="0"/>
                </a:moveTo>
                <a:lnTo>
                  <a:pt x="1692000" y="0"/>
                </a:lnTo>
                <a:lnTo>
                  <a:pt x="1692000" y="1157846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41" name="Textplatzhalter 5">
            <a:extLst>
              <a:ext uri="{FF2B5EF4-FFF2-40B4-BE49-F238E27FC236}">
                <a16:creationId xmlns:a16="http://schemas.microsoft.com/office/drawing/2014/main" id="{08DBA464-479A-A4FF-49F7-C5BEFA010B61}"/>
              </a:ext>
            </a:extLst>
          </p:cNvPr>
          <p:cNvSpPr txBox="1">
            <a:spLocks/>
          </p:cNvSpPr>
          <p:nvPr/>
        </p:nvSpPr>
        <p:spPr>
          <a:xfrm>
            <a:off x="6178610" y="1219226"/>
            <a:ext cx="2377985" cy="1623605"/>
          </a:xfrm>
          <a:custGeom>
            <a:avLst/>
            <a:gdLst>
              <a:gd name="connsiteX0" fmla="*/ 0 w 1692000"/>
              <a:gd name="connsiteY0" fmla="*/ 0 h 1157846"/>
              <a:gd name="connsiteX1" fmla="*/ 1692000 w 1692000"/>
              <a:gd name="connsiteY1" fmla="*/ 0 h 1157846"/>
              <a:gd name="connsiteX2" fmla="*/ 1692000 w 1692000"/>
              <a:gd name="connsiteY2" fmla="*/ 1157846 h 1157846"/>
              <a:gd name="connsiteX3" fmla="*/ 0 w 1692000"/>
              <a:gd name="connsiteY3" fmla="*/ 1157846 h 1157846"/>
              <a:gd name="connsiteX4" fmla="*/ 0 w 1692000"/>
              <a:gd name="connsiteY4" fmla="*/ 0 h 1157846"/>
              <a:gd name="connsiteX0" fmla="*/ 0 w 1692000"/>
              <a:gd name="connsiteY0" fmla="*/ 20143 h 1177989"/>
              <a:gd name="connsiteX1" fmla="*/ 786179 w 1692000"/>
              <a:gd name="connsiteY1" fmla="*/ 0 h 1177989"/>
              <a:gd name="connsiteX2" fmla="*/ 1692000 w 1692000"/>
              <a:gd name="connsiteY2" fmla="*/ 20143 h 1177989"/>
              <a:gd name="connsiteX3" fmla="*/ 1692000 w 1692000"/>
              <a:gd name="connsiteY3" fmla="*/ 1177989 h 1177989"/>
              <a:gd name="connsiteX4" fmla="*/ 0 w 1692000"/>
              <a:gd name="connsiteY4" fmla="*/ 1177989 h 1177989"/>
              <a:gd name="connsiteX5" fmla="*/ 0 w 1692000"/>
              <a:gd name="connsiteY5" fmla="*/ 20143 h 1177989"/>
              <a:gd name="connsiteX0" fmla="*/ 786179 w 1692000"/>
              <a:gd name="connsiteY0" fmla="*/ 0 h 1177989"/>
              <a:gd name="connsiteX1" fmla="*/ 1692000 w 1692000"/>
              <a:gd name="connsiteY1" fmla="*/ 20143 h 1177989"/>
              <a:gd name="connsiteX2" fmla="*/ 1692000 w 1692000"/>
              <a:gd name="connsiteY2" fmla="*/ 1177989 h 1177989"/>
              <a:gd name="connsiteX3" fmla="*/ 0 w 1692000"/>
              <a:gd name="connsiteY3" fmla="*/ 1177989 h 1177989"/>
              <a:gd name="connsiteX4" fmla="*/ 0 w 1692000"/>
              <a:gd name="connsiteY4" fmla="*/ 20143 h 1177989"/>
              <a:gd name="connsiteX5" fmla="*/ 877619 w 1692000"/>
              <a:gd name="connsiteY5" fmla="*/ 91440 h 1177989"/>
              <a:gd name="connsiteX0" fmla="*/ 786179 w 1692000"/>
              <a:gd name="connsiteY0" fmla="*/ 0 h 1177989"/>
              <a:gd name="connsiteX1" fmla="*/ 1692000 w 1692000"/>
              <a:gd name="connsiteY1" fmla="*/ 20143 h 1177989"/>
              <a:gd name="connsiteX2" fmla="*/ 1692000 w 1692000"/>
              <a:gd name="connsiteY2" fmla="*/ 1177989 h 1177989"/>
              <a:gd name="connsiteX3" fmla="*/ 0 w 1692000"/>
              <a:gd name="connsiteY3" fmla="*/ 1177989 h 1177989"/>
              <a:gd name="connsiteX4" fmla="*/ 0 w 1692000"/>
              <a:gd name="connsiteY4" fmla="*/ 20143 h 1177989"/>
              <a:gd name="connsiteX0" fmla="*/ 1692000 w 1692000"/>
              <a:gd name="connsiteY0" fmla="*/ 0 h 1157846"/>
              <a:gd name="connsiteX1" fmla="*/ 1692000 w 1692000"/>
              <a:gd name="connsiteY1" fmla="*/ 1157846 h 1157846"/>
              <a:gd name="connsiteX2" fmla="*/ 0 w 1692000"/>
              <a:gd name="connsiteY2" fmla="*/ 1157846 h 1157846"/>
              <a:gd name="connsiteX3" fmla="*/ 0 w 1692000"/>
              <a:gd name="connsiteY3" fmla="*/ 0 h 1157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0" h="1157846">
                <a:moveTo>
                  <a:pt x="1692000" y="0"/>
                </a:moveTo>
                <a:lnTo>
                  <a:pt x="1692000" y="1157846"/>
                </a:lnTo>
                <a:lnTo>
                  <a:pt x="0" y="1157846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403F45"/>
            </a:solidFill>
            <a:prstDash val="sysDot"/>
          </a:ln>
        </p:spPr>
        <p:txBody>
          <a:bodyPr vert="horz" wrap="square" lIns="0" tIns="216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graphicFrame>
        <p:nvGraphicFramePr>
          <p:cNvPr id="52" name="Diagramm 51">
            <a:extLst>
              <a:ext uri="{FF2B5EF4-FFF2-40B4-BE49-F238E27FC236}">
                <a16:creationId xmlns:a16="http://schemas.microsoft.com/office/drawing/2014/main" id="{7570D791-984A-D1F4-E762-3586488202E2}"/>
              </a:ext>
            </a:extLst>
          </p:cNvPr>
          <p:cNvGraphicFramePr/>
          <p:nvPr/>
        </p:nvGraphicFramePr>
        <p:xfrm>
          <a:off x="8804891" y="1606324"/>
          <a:ext cx="2211832" cy="1232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3" name="Textfeld 52">
            <a:extLst>
              <a:ext uri="{FF2B5EF4-FFF2-40B4-BE49-F238E27FC236}">
                <a16:creationId xmlns:a16="http://schemas.microsoft.com/office/drawing/2014/main" id="{5B9F15D8-8B2C-A6A5-EE7F-F6FD9D327615}"/>
              </a:ext>
            </a:extLst>
          </p:cNvPr>
          <p:cNvSpPr txBox="1"/>
          <p:nvPr/>
        </p:nvSpPr>
        <p:spPr>
          <a:xfrm>
            <a:off x="8802701" y="1259765"/>
            <a:ext cx="204042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Reduktion </a:t>
            </a:r>
            <a:r>
              <a:rPr lang="de-DE" sz="1100" b="1"/>
              <a:t>Stundensatz</a:t>
            </a:r>
            <a:r>
              <a:rPr lang="de-DE" sz="1100"/>
              <a:t> (PLAN):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6725B3-4FC5-015E-4FCD-CAC0D7965738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>
            <a:off x="9585572" y="1597303"/>
            <a:ext cx="65047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6C7D7117-1F15-011B-0B2A-D8A5417B57E7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10236042" y="1598858"/>
            <a:ext cx="0" cy="32856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8CE1CEE0-F35F-EF2F-DA65-05A7C49E076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674047" y="1461683"/>
            <a:ext cx="431664" cy="251834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cs typeface="+mn-cs"/>
              </a:rPr>
              <a:t>-21%</a:t>
            </a:r>
          </a:p>
        </p:txBody>
      </p: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02B3923-7AB4-39E3-BAF7-50D8F5244271}"/>
              </a:ext>
            </a:extLst>
          </p:cNvPr>
          <p:cNvCxnSpPr>
            <a:cxnSpLocks/>
          </p:cNvCxnSpPr>
          <p:nvPr/>
        </p:nvCxnSpPr>
        <p:spPr>
          <a:xfrm>
            <a:off x="9590970" y="1597303"/>
            <a:ext cx="0" cy="76824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B215E6EE-4590-58ED-6EC1-A4A0D7DC99FC}"/>
              </a:ext>
            </a:extLst>
          </p:cNvPr>
          <p:cNvSpPr txBox="1"/>
          <p:nvPr/>
        </p:nvSpPr>
        <p:spPr>
          <a:xfrm>
            <a:off x="1164576" y="3105239"/>
            <a:ext cx="223323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Verarbeitete Menge Rohmaterial pro Jahr</a:t>
            </a:r>
            <a:endParaRPr lang="de-DE" sz="1100" b="1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C8F781C0-CEF4-DD15-641C-4E1046E4B294}"/>
              </a:ext>
            </a:extLst>
          </p:cNvPr>
          <p:cNvSpPr txBox="1"/>
          <p:nvPr/>
        </p:nvSpPr>
        <p:spPr>
          <a:xfrm>
            <a:off x="3768847" y="1256576"/>
            <a:ext cx="22332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Verhältnis </a:t>
            </a:r>
            <a:r>
              <a:rPr lang="de-DE" sz="1100" b="1"/>
              <a:t>Maschinen</a:t>
            </a:r>
            <a:r>
              <a:rPr lang="de-DE" sz="1100"/>
              <a:t> zu </a:t>
            </a:r>
            <a:r>
              <a:rPr lang="de-DE" sz="1100" b="1"/>
              <a:t>Output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773F8F33-B709-60F6-B0AB-DDD321892352}"/>
              </a:ext>
            </a:extLst>
          </p:cNvPr>
          <p:cNvSpPr txBox="1"/>
          <p:nvPr/>
        </p:nvSpPr>
        <p:spPr>
          <a:xfrm>
            <a:off x="6275399" y="4604071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Verhältnis </a:t>
            </a:r>
            <a:r>
              <a:rPr lang="de-DE" sz="1100" b="1"/>
              <a:t>WS MA </a:t>
            </a:r>
            <a:r>
              <a:rPr lang="de-DE" sz="1100"/>
              <a:t>zu </a:t>
            </a:r>
            <a:r>
              <a:rPr lang="de-DE" sz="1100" b="1"/>
              <a:t>NWS MA*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8DD236D3-339B-45C2-08E7-99AE3857D841}"/>
              </a:ext>
            </a:extLst>
          </p:cNvPr>
          <p:cNvSpPr txBox="1"/>
          <p:nvPr/>
        </p:nvSpPr>
        <p:spPr>
          <a:xfrm>
            <a:off x="8814425" y="4598288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Aktive </a:t>
            </a:r>
            <a:r>
              <a:rPr lang="de-DE" sz="1100" b="1"/>
              <a:t>Serienteile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E446AE4-9276-D293-9E38-785ACA277EBD}"/>
              </a:ext>
            </a:extLst>
          </p:cNvPr>
          <p:cNvSpPr txBox="1"/>
          <p:nvPr/>
        </p:nvSpPr>
        <p:spPr>
          <a:xfrm>
            <a:off x="3780159" y="4580331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b="1"/>
              <a:t>Warenbewegungen</a:t>
            </a:r>
            <a:r>
              <a:rPr lang="de-DE" sz="1100"/>
              <a:t> pro Tag*</a:t>
            </a:r>
            <a:endParaRPr lang="de-DE" sz="1100" b="1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43F8BD73-AA52-540B-E22D-B83DFFE0BD4E}"/>
              </a:ext>
            </a:extLst>
          </p:cNvPr>
          <p:cNvSpPr txBox="1"/>
          <p:nvPr/>
        </p:nvSpPr>
        <p:spPr>
          <a:xfrm>
            <a:off x="1120921" y="1266283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Durchschnittliches</a:t>
            </a:r>
            <a:r>
              <a:rPr lang="de-DE" sz="1100" b="1"/>
              <a:t> Maschinenalter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FFD037B8-AD4A-9A4E-3F14-5471603A32E9}"/>
              </a:ext>
            </a:extLst>
          </p:cNvPr>
          <p:cNvSpPr txBox="1"/>
          <p:nvPr/>
        </p:nvSpPr>
        <p:spPr>
          <a:xfrm>
            <a:off x="1164576" y="4598288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Weiteres Wachstumspotential</a:t>
            </a:r>
            <a:r>
              <a:rPr lang="de-DE" sz="1100" b="1"/>
              <a:t>*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BDBEB3C-3120-F6A9-9BE4-29FB2EA6BDB7}"/>
              </a:ext>
            </a:extLst>
          </p:cNvPr>
          <p:cNvSpPr txBox="1"/>
          <p:nvPr/>
        </p:nvSpPr>
        <p:spPr>
          <a:xfrm>
            <a:off x="8783492" y="3046784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Freie </a:t>
            </a:r>
            <a:r>
              <a:rPr lang="de-DE" sz="1100" b="1"/>
              <a:t>Wachstumsfläche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2ED23509-18A4-E748-FE26-E86152E8A2EB}"/>
              </a:ext>
            </a:extLst>
          </p:cNvPr>
          <p:cNvSpPr txBox="1"/>
          <p:nvPr/>
        </p:nvSpPr>
        <p:spPr>
          <a:xfrm>
            <a:off x="4153481" y="4959205"/>
            <a:ext cx="134183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6000">
                <a:solidFill>
                  <a:schemeClr val="dk1"/>
                </a:solidFill>
              </a:rPr>
              <a:t>252</a:t>
            </a:r>
            <a:endParaRPr lang="de-DE" sz="6000" b="1">
              <a:solidFill>
                <a:schemeClr val="dk1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8FF44E07-7975-F124-0BA8-C5C6DC091B07}"/>
              </a:ext>
            </a:extLst>
          </p:cNvPr>
          <p:cNvSpPr txBox="1"/>
          <p:nvPr/>
        </p:nvSpPr>
        <p:spPr>
          <a:xfrm>
            <a:off x="6376956" y="5192558"/>
            <a:ext cx="40282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/>
              <a:t>WS</a:t>
            </a:r>
            <a:endParaRPr lang="de-DE" b="1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5244CFC6-514B-FA34-046C-93BA8E599F98}"/>
              </a:ext>
            </a:extLst>
          </p:cNvPr>
          <p:cNvSpPr txBox="1"/>
          <p:nvPr/>
        </p:nvSpPr>
        <p:spPr>
          <a:xfrm>
            <a:off x="1442142" y="2313223"/>
            <a:ext cx="16561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>
                <a:solidFill>
                  <a:schemeClr val="dk1"/>
                </a:solidFill>
              </a:rPr>
              <a:t>Ø</a:t>
            </a:r>
            <a:r>
              <a:rPr lang="de-DE">
                <a:solidFill>
                  <a:schemeClr val="dk1"/>
                </a:solidFill>
              </a:rPr>
              <a:t> </a:t>
            </a:r>
            <a:r>
              <a:rPr lang="de-DE" sz="2800">
                <a:solidFill>
                  <a:schemeClr val="dk1"/>
                </a:solidFill>
              </a:rPr>
              <a:t>12,12 </a:t>
            </a:r>
            <a:r>
              <a:rPr lang="de-DE" sz="1000">
                <a:solidFill>
                  <a:schemeClr val="dk1"/>
                </a:solidFill>
              </a:rPr>
              <a:t>Jahre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7CC1B95E-EFEA-4D06-9484-E7B4CB1A2CDA}"/>
              </a:ext>
            </a:extLst>
          </p:cNvPr>
          <p:cNvSpPr txBox="1"/>
          <p:nvPr/>
        </p:nvSpPr>
        <p:spPr>
          <a:xfrm>
            <a:off x="4047479" y="1595187"/>
            <a:ext cx="3158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2000">
                <a:solidFill>
                  <a:schemeClr val="dk1"/>
                </a:solidFill>
              </a:rPr>
              <a:t>27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987B9EA4-A775-A45B-4754-D86BDC6EEB5D}"/>
              </a:ext>
            </a:extLst>
          </p:cNvPr>
          <p:cNvSpPr txBox="1"/>
          <p:nvPr/>
        </p:nvSpPr>
        <p:spPr>
          <a:xfrm>
            <a:off x="5121921" y="1462327"/>
            <a:ext cx="5391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>
                <a:solidFill>
                  <a:schemeClr val="dk1"/>
                </a:solidFill>
              </a:rPr>
              <a:t>35</a:t>
            </a:r>
            <a:endParaRPr lang="de-DE" sz="3200" b="1">
              <a:solidFill>
                <a:schemeClr val="dk1"/>
              </a:solidFill>
            </a:endParaRP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E38DEA9C-05CA-E36F-3794-D0987348EE9C}"/>
              </a:ext>
            </a:extLst>
          </p:cNvPr>
          <p:cNvSpPr txBox="1"/>
          <p:nvPr/>
        </p:nvSpPr>
        <p:spPr>
          <a:xfrm>
            <a:off x="6359211" y="5623545"/>
            <a:ext cx="54569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/>
              <a:t>NWS</a:t>
            </a:r>
            <a:endParaRPr lang="de-DE" b="1"/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00ED7A6D-019F-19BE-3A2C-EDDE14DB128D}"/>
              </a:ext>
            </a:extLst>
          </p:cNvPr>
          <p:cNvSpPr txBox="1"/>
          <p:nvPr/>
        </p:nvSpPr>
        <p:spPr>
          <a:xfrm>
            <a:off x="7026566" y="4867276"/>
            <a:ext cx="5551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/>
              <a:t>GJ15/16</a:t>
            </a:r>
            <a:endParaRPr lang="de-DE" sz="1200" b="1"/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DB51F7EF-7233-C844-047A-4DD46306C0C1}"/>
              </a:ext>
            </a:extLst>
          </p:cNvPr>
          <p:cNvSpPr txBox="1"/>
          <p:nvPr/>
        </p:nvSpPr>
        <p:spPr>
          <a:xfrm>
            <a:off x="7822474" y="4867430"/>
            <a:ext cx="5551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/>
              <a:t>GJ22/23</a:t>
            </a:r>
            <a:endParaRPr lang="de-DE" sz="1200" b="1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AFAE9C2-E3BD-2B80-170D-9884EAAF1056}"/>
              </a:ext>
            </a:extLst>
          </p:cNvPr>
          <p:cNvSpPr txBox="1"/>
          <p:nvPr/>
        </p:nvSpPr>
        <p:spPr>
          <a:xfrm>
            <a:off x="7185861" y="5164995"/>
            <a:ext cx="3183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/>
              <a:t>5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69E0166-907B-B27C-FE71-B793A515EFA5}"/>
              </a:ext>
            </a:extLst>
          </p:cNvPr>
          <p:cNvSpPr txBox="1"/>
          <p:nvPr/>
        </p:nvSpPr>
        <p:spPr>
          <a:xfrm>
            <a:off x="7919845" y="5164995"/>
            <a:ext cx="3183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dk1"/>
                </a:solidFill>
              </a:rPr>
              <a:t>7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6F013DC-4CD9-37FC-2B52-96DEFE4808CF}"/>
              </a:ext>
            </a:extLst>
          </p:cNvPr>
          <p:cNvSpPr txBox="1"/>
          <p:nvPr/>
        </p:nvSpPr>
        <p:spPr>
          <a:xfrm>
            <a:off x="7178417" y="5621889"/>
            <a:ext cx="3183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/>
              <a:t>34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9E2C8D0-60A3-0137-0E45-80D3A1CE8D2B}"/>
              </a:ext>
            </a:extLst>
          </p:cNvPr>
          <p:cNvSpPr txBox="1"/>
          <p:nvPr/>
        </p:nvSpPr>
        <p:spPr>
          <a:xfrm>
            <a:off x="7942384" y="5616458"/>
            <a:ext cx="3183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dk1"/>
                </a:solidFill>
              </a:rPr>
              <a:t>27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C2F47F4E-A56F-15A0-CE8C-F6FB813F9143}"/>
              </a:ext>
            </a:extLst>
          </p:cNvPr>
          <p:cNvCxnSpPr>
            <a:cxnSpLocks/>
          </p:cNvCxnSpPr>
          <p:nvPr/>
        </p:nvCxnSpPr>
        <p:spPr>
          <a:xfrm>
            <a:off x="7754624" y="5164995"/>
            <a:ext cx="0" cy="799152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087ABDF-1CE4-0FBC-17E8-4623FB24ADEC}"/>
              </a:ext>
            </a:extLst>
          </p:cNvPr>
          <p:cNvCxnSpPr>
            <a:cxnSpLocks/>
          </p:cNvCxnSpPr>
          <p:nvPr/>
        </p:nvCxnSpPr>
        <p:spPr>
          <a:xfrm>
            <a:off x="6935474" y="5154872"/>
            <a:ext cx="0" cy="84711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588D8655-C719-73A6-A66F-2E543DFAA208}"/>
              </a:ext>
            </a:extLst>
          </p:cNvPr>
          <p:cNvCxnSpPr>
            <a:cxnSpLocks/>
          </p:cNvCxnSpPr>
          <p:nvPr/>
        </p:nvCxnSpPr>
        <p:spPr>
          <a:xfrm flipH="1">
            <a:off x="6425016" y="5526298"/>
            <a:ext cx="2023504" cy="11287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7D05F40-6AB7-527D-AFAE-D6ADC3491A4D}"/>
              </a:ext>
            </a:extLst>
          </p:cNvPr>
          <p:cNvCxnSpPr>
            <a:cxnSpLocks/>
          </p:cNvCxnSpPr>
          <p:nvPr/>
        </p:nvCxnSpPr>
        <p:spPr>
          <a:xfrm>
            <a:off x="4482972" y="1740896"/>
            <a:ext cx="589707" cy="0"/>
          </a:xfrm>
          <a:prstGeom prst="straightConnector1">
            <a:avLst/>
          </a:prstGeom>
          <a:ln w="571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94393A1-4947-6DA6-68CE-CD20A2A102DE}"/>
              </a:ext>
            </a:extLst>
          </p:cNvPr>
          <p:cNvSpPr txBox="1"/>
          <p:nvPr/>
        </p:nvSpPr>
        <p:spPr>
          <a:xfrm>
            <a:off x="3976883" y="2597198"/>
            <a:ext cx="6188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/>
              <a:t>GJ</a:t>
            </a:r>
            <a:r>
              <a:rPr lang="de-DE" sz="1200"/>
              <a:t>15/16</a:t>
            </a:r>
            <a:endParaRPr lang="de-DE" sz="1200" b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812D4DF-9C0D-00B0-3FC9-82A2295C0AFF}"/>
              </a:ext>
            </a:extLst>
          </p:cNvPr>
          <p:cNvSpPr txBox="1"/>
          <p:nvPr/>
        </p:nvSpPr>
        <p:spPr>
          <a:xfrm>
            <a:off x="9141517" y="5038371"/>
            <a:ext cx="156858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800">
                <a:solidFill>
                  <a:schemeClr val="dk1"/>
                </a:solidFill>
              </a:rPr>
              <a:t>1.017</a:t>
            </a:r>
            <a:endParaRPr lang="de-DE" sz="4800" b="1">
              <a:solidFill>
                <a:schemeClr val="dk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4A3BA37-1930-D6FD-4301-3094CCCDE048}"/>
              </a:ext>
            </a:extLst>
          </p:cNvPr>
          <p:cNvSpPr txBox="1"/>
          <p:nvPr/>
        </p:nvSpPr>
        <p:spPr>
          <a:xfrm>
            <a:off x="1208832" y="3554444"/>
            <a:ext cx="114394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400">
                <a:solidFill>
                  <a:schemeClr val="dk1"/>
                </a:solidFill>
              </a:rPr>
              <a:t>990</a:t>
            </a:r>
            <a:r>
              <a:rPr lang="de-DE">
                <a:solidFill>
                  <a:schemeClr val="dk1"/>
                </a:solidFill>
              </a:rPr>
              <a:t> 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041E334-368B-9CE5-8DD0-3981B3D8AD7D}"/>
              </a:ext>
            </a:extLst>
          </p:cNvPr>
          <p:cNvSpPr txBox="1"/>
          <p:nvPr/>
        </p:nvSpPr>
        <p:spPr>
          <a:xfrm>
            <a:off x="9075126" y="3416734"/>
            <a:ext cx="17063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000">
                <a:solidFill>
                  <a:schemeClr val="dk1"/>
                </a:solidFill>
              </a:rPr>
              <a:t>+770</a:t>
            </a:r>
            <a:r>
              <a:rPr lang="de-DE" sz="2000">
                <a:solidFill>
                  <a:schemeClr val="dk1"/>
                </a:solidFill>
              </a:rPr>
              <a:t> </a:t>
            </a:r>
            <a:r>
              <a:rPr lang="de-DE" sz="2400">
                <a:solidFill>
                  <a:schemeClr val="dk1"/>
                </a:solidFill>
              </a:rPr>
              <a:t>m</a:t>
            </a:r>
            <a:r>
              <a:rPr lang="de-DE" sz="2400" baseline="30000">
                <a:solidFill>
                  <a:schemeClr val="dk1"/>
                </a:solidFill>
              </a:rPr>
              <a:t>2</a:t>
            </a:r>
            <a:endParaRPr lang="de-DE" sz="4800" b="1" baseline="30000">
              <a:solidFill>
                <a:schemeClr val="dk1"/>
              </a:solidFill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215B1002-38DB-D37C-F048-1108F370082D}"/>
              </a:ext>
            </a:extLst>
          </p:cNvPr>
          <p:cNvGrpSpPr/>
          <p:nvPr/>
        </p:nvGrpSpPr>
        <p:grpSpPr>
          <a:xfrm>
            <a:off x="4741391" y="3301592"/>
            <a:ext cx="2596710" cy="755458"/>
            <a:chOff x="52387" y="1596576"/>
            <a:chExt cx="4392055" cy="2546550"/>
          </a:xfrm>
        </p:grpSpPr>
        <p:sp>
          <p:nvSpPr>
            <p:cNvPr id="45" name="Textplatzhalter 5">
              <a:extLst>
                <a:ext uri="{FF2B5EF4-FFF2-40B4-BE49-F238E27FC236}">
                  <a16:creationId xmlns:a16="http://schemas.microsoft.com/office/drawing/2014/main" id="{EF79317C-F048-EFBB-3454-1AF0A3A842ED}"/>
                </a:ext>
              </a:extLst>
            </p:cNvPr>
            <p:cNvSpPr txBox="1">
              <a:spLocks/>
            </p:cNvSpPr>
            <p:nvPr/>
          </p:nvSpPr>
          <p:spPr>
            <a:xfrm>
              <a:off x="410319" y="1851693"/>
              <a:ext cx="4034123" cy="1867455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800" b="1">
                  <a:solidFill>
                    <a:srgbClr val="FFFFFF"/>
                  </a:solidFill>
                </a:rPr>
                <a:t>Fabrik mit Zukunft </a:t>
              </a:r>
            </a:p>
            <a:p>
              <a:r>
                <a:rPr lang="de-DE" sz="1800" b="1">
                  <a:solidFill>
                    <a:srgbClr val="FFFFFF"/>
                  </a:solidFill>
                </a:rPr>
                <a:t>Lean, Green, Digital</a:t>
              </a: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FFDF13C-ACDD-1F0C-5E24-68A00E3C01AA}"/>
                </a:ext>
              </a:extLst>
            </p:cNvPr>
            <p:cNvSpPr/>
            <p:nvPr/>
          </p:nvSpPr>
          <p:spPr>
            <a:xfrm>
              <a:off x="52387" y="1596576"/>
              <a:ext cx="4392055" cy="2546550"/>
            </a:xfrm>
            <a:custGeom>
              <a:avLst/>
              <a:gdLst>
                <a:gd name="connsiteX0" fmla="*/ 0 w 4392055"/>
                <a:gd name="connsiteY0" fmla="*/ 0 h 2546550"/>
                <a:gd name="connsiteX1" fmla="*/ 3666727 w 4392055"/>
                <a:gd name="connsiteY1" fmla="*/ 0 h 2546550"/>
                <a:gd name="connsiteX2" fmla="*/ 3920214 w 4392055"/>
                <a:gd name="connsiteY2" fmla="*/ 0 h 2546550"/>
                <a:gd name="connsiteX3" fmla="*/ 4392055 w 4392055"/>
                <a:gd name="connsiteY3" fmla="*/ 0 h 2546550"/>
                <a:gd name="connsiteX4" fmla="*/ 4392055 w 4392055"/>
                <a:gd name="connsiteY4" fmla="*/ 2546550 h 2546550"/>
                <a:gd name="connsiteX5" fmla="*/ 3920214 w 4392055"/>
                <a:gd name="connsiteY5" fmla="*/ 2546550 h 2546550"/>
                <a:gd name="connsiteX6" fmla="*/ 3666727 w 4392055"/>
                <a:gd name="connsiteY6" fmla="*/ 2546550 h 2546550"/>
                <a:gd name="connsiteX7" fmla="*/ 0 w 4392055"/>
                <a:gd name="connsiteY7" fmla="*/ 2546550 h 2546550"/>
                <a:gd name="connsiteX8" fmla="*/ 0 w 4392055"/>
                <a:gd name="connsiteY8" fmla="*/ 1507549 h 2546550"/>
                <a:gd name="connsiteX9" fmla="*/ 234275 w 4392055"/>
                <a:gd name="connsiteY9" fmla="*/ 1273276 h 2546550"/>
                <a:gd name="connsiteX10" fmla="*/ 0 w 4392055"/>
                <a:gd name="connsiteY10" fmla="*/ 1039002 h 254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92055" h="2546550">
                  <a:moveTo>
                    <a:pt x="0" y="0"/>
                  </a:moveTo>
                  <a:lnTo>
                    <a:pt x="3666727" y="0"/>
                  </a:lnTo>
                  <a:lnTo>
                    <a:pt x="3920214" y="0"/>
                  </a:lnTo>
                  <a:lnTo>
                    <a:pt x="4392055" y="0"/>
                  </a:lnTo>
                  <a:lnTo>
                    <a:pt x="4392055" y="2546550"/>
                  </a:lnTo>
                  <a:lnTo>
                    <a:pt x="3920214" y="2546550"/>
                  </a:lnTo>
                  <a:lnTo>
                    <a:pt x="3666727" y="2546550"/>
                  </a:lnTo>
                  <a:lnTo>
                    <a:pt x="0" y="2546550"/>
                  </a:lnTo>
                  <a:lnTo>
                    <a:pt x="0" y="1507549"/>
                  </a:lnTo>
                  <a:lnTo>
                    <a:pt x="234275" y="1273276"/>
                  </a:lnTo>
                  <a:lnTo>
                    <a:pt x="0" y="1039002"/>
                  </a:lnTo>
                  <a:close/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sp>
        <p:nvSpPr>
          <p:cNvPr id="87" name="Textfeld 86">
            <a:extLst>
              <a:ext uri="{FF2B5EF4-FFF2-40B4-BE49-F238E27FC236}">
                <a16:creationId xmlns:a16="http://schemas.microsoft.com/office/drawing/2014/main" id="{8589FE37-467C-F67B-0DE3-CA8209735335}"/>
              </a:ext>
            </a:extLst>
          </p:cNvPr>
          <p:cNvSpPr txBox="1"/>
          <p:nvPr/>
        </p:nvSpPr>
        <p:spPr>
          <a:xfrm>
            <a:off x="3683372" y="6010595"/>
            <a:ext cx="22332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*LVS gesteuerte Fahraufträge</a:t>
            </a:r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19BD83B4-1A8A-4BE4-D3B2-CE480EA7720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208" y="1632916"/>
            <a:ext cx="318284" cy="207849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sz="800" b="1">
                <a:cs typeface="+mn-cs"/>
              </a:rPr>
              <a:t>+29%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D8967225-57C5-A92A-F0DB-21EB4121BE4C}"/>
              </a:ext>
            </a:extLst>
          </p:cNvPr>
          <p:cNvSpPr txBox="1"/>
          <p:nvPr/>
        </p:nvSpPr>
        <p:spPr>
          <a:xfrm>
            <a:off x="6275399" y="6001982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*strukturelle Änderungen enthalten</a:t>
            </a:r>
            <a:endParaRPr lang="de-DE" sz="1100" b="1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E7F48FB-9624-59B6-4898-7D27886B8636}"/>
              </a:ext>
            </a:extLst>
          </p:cNvPr>
          <p:cNvSpPr txBox="1"/>
          <p:nvPr/>
        </p:nvSpPr>
        <p:spPr>
          <a:xfrm>
            <a:off x="2427335" y="3753650"/>
            <a:ext cx="73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2400">
                <a:solidFill>
                  <a:schemeClr val="dk1"/>
                </a:solidFill>
              </a:rPr>
              <a:t>7,5 </a:t>
            </a:r>
            <a:r>
              <a:rPr lang="de-DE" sz="800">
                <a:solidFill>
                  <a:schemeClr val="dk1"/>
                </a:solidFill>
              </a:rPr>
              <a:t>kg/h</a:t>
            </a:r>
            <a:endParaRPr lang="de-DE" sz="1050">
              <a:solidFill>
                <a:schemeClr val="dk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52A5CC67-0165-4A09-2CE2-BE58FD88CE7F}"/>
              </a:ext>
            </a:extLst>
          </p:cNvPr>
          <p:cNvSpPr txBox="1"/>
          <p:nvPr/>
        </p:nvSpPr>
        <p:spPr>
          <a:xfrm>
            <a:off x="4053969" y="2166899"/>
            <a:ext cx="40373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2000">
                <a:solidFill>
                  <a:schemeClr val="dk1"/>
                </a:solidFill>
              </a:rPr>
              <a:t>92*  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679B50C-C235-E1B1-CD29-2C3F0AC58C1C}"/>
              </a:ext>
            </a:extLst>
          </p:cNvPr>
          <p:cNvSpPr txBox="1"/>
          <p:nvPr/>
        </p:nvSpPr>
        <p:spPr>
          <a:xfrm>
            <a:off x="5087940" y="2105345"/>
            <a:ext cx="76218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2800">
                <a:solidFill>
                  <a:schemeClr val="dk1"/>
                </a:solidFill>
              </a:rPr>
              <a:t>132* 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59E10689-5472-47DE-B3DC-B0500465F7C2}"/>
              </a:ext>
            </a:extLst>
          </p:cNvPr>
          <p:cNvSpPr txBox="1"/>
          <p:nvPr/>
        </p:nvSpPr>
        <p:spPr>
          <a:xfrm>
            <a:off x="5125854" y="2597198"/>
            <a:ext cx="6190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/>
              <a:t>GJ</a:t>
            </a:r>
            <a:r>
              <a:rPr lang="de-DE" sz="1200"/>
              <a:t>22/23</a:t>
            </a:r>
            <a:endParaRPr lang="de-DE" sz="1200" b="1"/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7D767396-CF3A-B9AD-717F-1336C9AFF9AD}"/>
              </a:ext>
            </a:extLst>
          </p:cNvPr>
          <p:cNvCxnSpPr>
            <a:cxnSpLocks/>
          </p:cNvCxnSpPr>
          <p:nvPr/>
        </p:nvCxnSpPr>
        <p:spPr>
          <a:xfrm>
            <a:off x="4506589" y="2333456"/>
            <a:ext cx="566090" cy="0"/>
          </a:xfrm>
          <a:prstGeom prst="straightConnector1">
            <a:avLst/>
          </a:prstGeom>
          <a:ln w="571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A10ABF6-B9AD-A6CE-A068-45B1781042CE}"/>
              </a:ext>
            </a:extLst>
          </p:cNvPr>
          <p:cNvSpPr txBox="1"/>
          <p:nvPr/>
        </p:nvSpPr>
        <p:spPr>
          <a:xfrm>
            <a:off x="6247850" y="1254187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Anfallende Menge </a:t>
            </a:r>
            <a:r>
              <a:rPr lang="de-DE" sz="1100" b="1"/>
              <a:t>Späne</a:t>
            </a:r>
            <a:r>
              <a:rPr lang="de-DE" sz="1100"/>
              <a:t> pro </a:t>
            </a:r>
            <a:r>
              <a:rPr lang="de-DE" sz="1100" b="1"/>
              <a:t>Jahr</a:t>
            </a:r>
          </a:p>
        </p:txBody>
      </p:sp>
      <p:sp>
        <p:nvSpPr>
          <p:cNvPr id="107" name="Textplatzhalter 2">
            <a:extLst>
              <a:ext uri="{FF2B5EF4-FFF2-40B4-BE49-F238E27FC236}">
                <a16:creationId xmlns:a16="http://schemas.microsoft.com/office/drawing/2014/main" id="{38F3F215-11BC-9C49-759F-6E142CDDCFB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51617" y="2228747"/>
            <a:ext cx="318284" cy="207849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sz="800" b="1">
                <a:cs typeface="+mn-cs"/>
              </a:rPr>
              <a:t>+42%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DE989652-FF4C-FC3A-5882-AFCBB47C7E08}"/>
              </a:ext>
            </a:extLst>
          </p:cNvPr>
          <p:cNvSpPr txBox="1"/>
          <p:nvPr/>
        </p:nvSpPr>
        <p:spPr>
          <a:xfrm>
            <a:off x="1205354" y="5444765"/>
            <a:ext cx="54569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/>
              <a:t>Kub.</a:t>
            </a:r>
            <a:endParaRPr lang="de-DE" b="1"/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F2A77D93-5B61-D1A4-6794-970F872C9540}"/>
              </a:ext>
            </a:extLst>
          </p:cNvPr>
          <p:cNvSpPr txBox="1"/>
          <p:nvPr/>
        </p:nvSpPr>
        <p:spPr>
          <a:xfrm>
            <a:off x="2729044" y="4986215"/>
            <a:ext cx="49485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dk1"/>
                </a:solidFill>
              </a:rPr>
              <a:t>+5%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592F8446-8BD8-B5E2-27D6-B977814F2C29}"/>
              </a:ext>
            </a:extLst>
          </p:cNvPr>
          <p:cNvSpPr txBox="1"/>
          <p:nvPr/>
        </p:nvSpPr>
        <p:spPr>
          <a:xfrm>
            <a:off x="1986556" y="5439756"/>
            <a:ext cx="5019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/>
              <a:t>Rot.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EEB089D5-382A-C5A4-A175-7BB35BD67C79}"/>
              </a:ext>
            </a:extLst>
          </p:cNvPr>
          <p:cNvSpPr txBox="1"/>
          <p:nvPr/>
        </p:nvSpPr>
        <p:spPr>
          <a:xfrm>
            <a:off x="2738902" y="5456893"/>
            <a:ext cx="4948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>
                <a:solidFill>
                  <a:schemeClr val="dk1"/>
                </a:solidFill>
              </a:rPr>
              <a:t>Fein.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48476D46-205F-FBCA-AB0F-8E2E684789ED}"/>
              </a:ext>
            </a:extLst>
          </p:cNvPr>
          <p:cNvCxnSpPr>
            <a:cxnSpLocks/>
          </p:cNvCxnSpPr>
          <p:nvPr/>
        </p:nvCxnSpPr>
        <p:spPr>
          <a:xfrm>
            <a:off x="2600767" y="4986215"/>
            <a:ext cx="0" cy="799152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45775447-7357-991B-8CF7-FBB5D085E170}"/>
              </a:ext>
            </a:extLst>
          </p:cNvPr>
          <p:cNvCxnSpPr>
            <a:cxnSpLocks/>
          </p:cNvCxnSpPr>
          <p:nvPr/>
        </p:nvCxnSpPr>
        <p:spPr>
          <a:xfrm>
            <a:off x="1781617" y="4976092"/>
            <a:ext cx="0" cy="84711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2856BB9-5152-A6E1-5C28-C0635867CC5E}"/>
              </a:ext>
            </a:extLst>
          </p:cNvPr>
          <p:cNvCxnSpPr>
            <a:cxnSpLocks/>
          </p:cNvCxnSpPr>
          <p:nvPr/>
        </p:nvCxnSpPr>
        <p:spPr>
          <a:xfrm flipH="1">
            <a:off x="1155209" y="5347518"/>
            <a:ext cx="2139454" cy="10857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8BCA511B-2C3B-5268-B525-1A8DE99BF616}"/>
              </a:ext>
            </a:extLst>
          </p:cNvPr>
          <p:cNvSpPr txBox="1"/>
          <p:nvPr/>
        </p:nvSpPr>
        <p:spPr>
          <a:xfrm>
            <a:off x="1120103" y="5991677"/>
            <a:ext cx="2233231" cy="171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*mit bestehendem Maschinenpark</a:t>
            </a:r>
            <a:endParaRPr lang="de-DE" sz="1100" b="1"/>
          </a:p>
        </p:txBody>
      </p:sp>
      <p:sp>
        <p:nvSpPr>
          <p:cNvPr id="121" name="Textfeld 120">
            <a:extLst>
              <a:ext uri="{FF2B5EF4-FFF2-40B4-BE49-F238E27FC236}">
                <a16:creationId xmlns:a16="http://schemas.microsoft.com/office/drawing/2014/main" id="{05548659-45C6-BD84-3C61-65C6120F4770}"/>
              </a:ext>
            </a:extLst>
          </p:cNvPr>
          <p:cNvSpPr txBox="1"/>
          <p:nvPr/>
        </p:nvSpPr>
        <p:spPr>
          <a:xfrm>
            <a:off x="1943928" y="4986215"/>
            <a:ext cx="49485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dk1"/>
                </a:solidFill>
              </a:rPr>
              <a:t>+6%</a:t>
            </a: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F2DE5C94-29B2-A9F3-6A33-1D00CA1CC4C7}"/>
              </a:ext>
            </a:extLst>
          </p:cNvPr>
          <p:cNvSpPr txBox="1"/>
          <p:nvPr/>
        </p:nvSpPr>
        <p:spPr>
          <a:xfrm>
            <a:off x="1143876" y="4993315"/>
            <a:ext cx="6426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>
                <a:solidFill>
                  <a:schemeClr val="dk1"/>
                </a:solidFill>
              </a:rPr>
              <a:t>+8%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5E23F9DB-60EF-20D2-4BF5-C7FC15182458}"/>
              </a:ext>
            </a:extLst>
          </p:cNvPr>
          <p:cNvSpPr txBox="1"/>
          <p:nvPr/>
        </p:nvSpPr>
        <p:spPr>
          <a:xfrm>
            <a:off x="6797186" y="1730490"/>
            <a:ext cx="114394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4400">
                <a:solidFill>
                  <a:schemeClr val="dk1"/>
                </a:solidFill>
              </a:rPr>
              <a:t>364</a:t>
            </a:r>
            <a:r>
              <a:rPr lang="de-DE">
                <a:solidFill>
                  <a:schemeClr val="dk1"/>
                </a:solidFill>
              </a:rPr>
              <a:t> t</a:t>
            </a:r>
          </a:p>
        </p:txBody>
      </p:sp>
      <p:sp>
        <p:nvSpPr>
          <p:cNvPr id="132" name="Ellipse 131">
            <a:extLst>
              <a:ext uri="{FF2B5EF4-FFF2-40B4-BE49-F238E27FC236}">
                <a16:creationId xmlns:a16="http://schemas.microsoft.com/office/drawing/2014/main" id="{08967BAC-FF1B-35F0-56B7-34EDAF70244A}"/>
              </a:ext>
            </a:extLst>
          </p:cNvPr>
          <p:cNvSpPr/>
          <p:nvPr/>
        </p:nvSpPr>
        <p:spPr>
          <a:xfrm>
            <a:off x="2393568" y="2030181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33" name="Ellipse 132">
            <a:extLst>
              <a:ext uri="{FF2B5EF4-FFF2-40B4-BE49-F238E27FC236}">
                <a16:creationId xmlns:a16="http://schemas.microsoft.com/office/drawing/2014/main" id="{21070A7B-E350-9F18-C7E8-18054F357F44}"/>
              </a:ext>
            </a:extLst>
          </p:cNvPr>
          <p:cNvSpPr/>
          <p:nvPr/>
        </p:nvSpPr>
        <p:spPr>
          <a:xfrm>
            <a:off x="3359625" y="2025194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34" name="Ellipse 133">
            <a:extLst>
              <a:ext uri="{FF2B5EF4-FFF2-40B4-BE49-F238E27FC236}">
                <a16:creationId xmlns:a16="http://schemas.microsoft.com/office/drawing/2014/main" id="{D8534966-A916-F6E4-26A2-47783631640F}"/>
              </a:ext>
            </a:extLst>
          </p:cNvPr>
          <p:cNvSpPr/>
          <p:nvPr/>
        </p:nvSpPr>
        <p:spPr>
          <a:xfrm>
            <a:off x="3230830" y="2025644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61FA788C-9698-31F5-BC11-7E05B020506C}"/>
              </a:ext>
            </a:extLst>
          </p:cNvPr>
          <p:cNvGrpSpPr/>
          <p:nvPr/>
        </p:nvGrpSpPr>
        <p:grpSpPr>
          <a:xfrm>
            <a:off x="1121409" y="2116102"/>
            <a:ext cx="2304339" cy="140829"/>
            <a:chOff x="1099795" y="2392743"/>
            <a:chExt cx="2304339" cy="140829"/>
          </a:xfrm>
        </p:grpSpPr>
        <p:cxnSp>
          <p:nvCxnSpPr>
            <p:cNvPr id="126" name="Gerader Verbinder 125">
              <a:extLst>
                <a:ext uri="{FF2B5EF4-FFF2-40B4-BE49-F238E27FC236}">
                  <a16:creationId xmlns:a16="http://schemas.microsoft.com/office/drawing/2014/main" id="{45424F53-48E8-EDFD-5D0B-910AE809EF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0103" y="2392743"/>
              <a:ext cx="2237270" cy="1957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F140A0E6-E834-37BA-6A31-520CDD74CD4E}"/>
                </a:ext>
              </a:extLst>
            </p:cNvPr>
            <p:cNvSpPr txBox="1"/>
            <p:nvPr/>
          </p:nvSpPr>
          <p:spPr>
            <a:xfrm>
              <a:off x="1099795" y="2425850"/>
              <a:ext cx="45719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700"/>
                <a:t>0</a:t>
              </a:r>
            </a:p>
          </p:txBody>
        </p: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47971E66-309A-FEA4-4C0C-03CE0B20BC31}"/>
                </a:ext>
              </a:extLst>
            </p:cNvPr>
            <p:cNvSpPr txBox="1"/>
            <p:nvPr/>
          </p:nvSpPr>
          <p:spPr>
            <a:xfrm>
              <a:off x="3288784" y="2425850"/>
              <a:ext cx="115350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700"/>
                <a:t>25</a:t>
              </a:r>
            </a:p>
          </p:txBody>
        </p:sp>
        <p:sp>
          <p:nvSpPr>
            <p:cNvPr id="137" name="Textfeld 136">
              <a:extLst>
                <a:ext uri="{FF2B5EF4-FFF2-40B4-BE49-F238E27FC236}">
                  <a16:creationId xmlns:a16="http://schemas.microsoft.com/office/drawing/2014/main" id="{2066E770-B872-729C-92C7-AC14812E150A}"/>
                </a:ext>
              </a:extLst>
            </p:cNvPr>
            <p:cNvSpPr txBox="1"/>
            <p:nvPr/>
          </p:nvSpPr>
          <p:spPr>
            <a:xfrm>
              <a:off x="1476875" y="2425850"/>
              <a:ext cx="7654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700"/>
                <a:t>5</a:t>
              </a:r>
            </a:p>
          </p:txBody>
        </p: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C3084304-7674-67F8-3171-B4A0729DA71F}"/>
                </a:ext>
              </a:extLst>
            </p:cNvPr>
            <p:cNvSpPr txBox="1"/>
            <p:nvPr/>
          </p:nvSpPr>
          <p:spPr>
            <a:xfrm>
              <a:off x="1884777" y="2425850"/>
              <a:ext cx="136642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700"/>
                <a:t>10</a:t>
              </a:r>
            </a:p>
          </p:txBody>
        </p:sp>
        <p:sp>
          <p:nvSpPr>
            <p:cNvPr id="139" name="Textfeld 138">
              <a:extLst>
                <a:ext uri="{FF2B5EF4-FFF2-40B4-BE49-F238E27FC236}">
                  <a16:creationId xmlns:a16="http://schemas.microsoft.com/office/drawing/2014/main" id="{FA76B676-E92D-C37D-B96A-3F898D8D7960}"/>
                </a:ext>
              </a:extLst>
            </p:cNvPr>
            <p:cNvSpPr txBox="1"/>
            <p:nvPr/>
          </p:nvSpPr>
          <p:spPr>
            <a:xfrm>
              <a:off x="2352780" y="2425850"/>
              <a:ext cx="136642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700"/>
                <a:t>15</a:t>
              </a:r>
            </a:p>
          </p:txBody>
        </p:sp>
        <p:sp>
          <p:nvSpPr>
            <p:cNvPr id="140" name="Textfeld 139">
              <a:extLst>
                <a:ext uri="{FF2B5EF4-FFF2-40B4-BE49-F238E27FC236}">
                  <a16:creationId xmlns:a16="http://schemas.microsoft.com/office/drawing/2014/main" id="{6A957CB8-F65F-5800-238C-CB216FEF774B}"/>
                </a:ext>
              </a:extLst>
            </p:cNvPr>
            <p:cNvSpPr txBox="1"/>
            <p:nvPr/>
          </p:nvSpPr>
          <p:spPr>
            <a:xfrm>
              <a:off x="2820783" y="2425850"/>
              <a:ext cx="136642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700"/>
                <a:t>20</a:t>
              </a:r>
            </a:p>
          </p:txBody>
        </p:sp>
      </p:grpSp>
      <p:sp>
        <p:nvSpPr>
          <p:cNvPr id="142" name="Ellipse 141">
            <a:extLst>
              <a:ext uri="{FF2B5EF4-FFF2-40B4-BE49-F238E27FC236}">
                <a16:creationId xmlns:a16="http://schemas.microsoft.com/office/drawing/2014/main" id="{962F8107-3F00-B799-D490-E6DD130FE2B4}"/>
              </a:ext>
            </a:extLst>
          </p:cNvPr>
          <p:cNvSpPr/>
          <p:nvPr/>
        </p:nvSpPr>
        <p:spPr>
          <a:xfrm>
            <a:off x="1649335" y="2033978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3" name="Ellipse 142">
            <a:extLst>
              <a:ext uri="{FF2B5EF4-FFF2-40B4-BE49-F238E27FC236}">
                <a16:creationId xmlns:a16="http://schemas.microsoft.com/office/drawing/2014/main" id="{3C74E3F0-BEC3-A7DE-4A8D-0432B7809B14}"/>
              </a:ext>
            </a:extLst>
          </p:cNvPr>
          <p:cNvSpPr/>
          <p:nvPr/>
        </p:nvSpPr>
        <p:spPr>
          <a:xfrm>
            <a:off x="1225021" y="2031798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4" name="Ellipse 143">
            <a:extLst>
              <a:ext uri="{FF2B5EF4-FFF2-40B4-BE49-F238E27FC236}">
                <a16:creationId xmlns:a16="http://schemas.microsoft.com/office/drawing/2014/main" id="{9F5D07EA-2A7D-61A2-7CDC-CA688B631D2A}"/>
              </a:ext>
            </a:extLst>
          </p:cNvPr>
          <p:cNvSpPr/>
          <p:nvPr/>
        </p:nvSpPr>
        <p:spPr>
          <a:xfrm>
            <a:off x="2393569" y="1964705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6" name="Ellipse 145">
            <a:extLst>
              <a:ext uri="{FF2B5EF4-FFF2-40B4-BE49-F238E27FC236}">
                <a16:creationId xmlns:a16="http://schemas.microsoft.com/office/drawing/2014/main" id="{B4B17962-F2EF-EE15-D963-6979786C4B4B}"/>
              </a:ext>
            </a:extLst>
          </p:cNvPr>
          <p:cNvSpPr/>
          <p:nvPr/>
        </p:nvSpPr>
        <p:spPr>
          <a:xfrm>
            <a:off x="2395891" y="1893119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grpSp>
        <p:nvGrpSpPr>
          <p:cNvPr id="178" name="Gruppieren 177">
            <a:extLst>
              <a:ext uri="{FF2B5EF4-FFF2-40B4-BE49-F238E27FC236}">
                <a16:creationId xmlns:a16="http://schemas.microsoft.com/office/drawing/2014/main" id="{0B3B74F1-39B6-2273-C329-206BE563E98E}"/>
              </a:ext>
            </a:extLst>
          </p:cNvPr>
          <p:cNvGrpSpPr/>
          <p:nvPr/>
        </p:nvGrpSpPr>
        <p:grpSpPr>
          <a:xfrm>
            <a:off x="1871948" y="1806615"/>
            <a:ext cx="196029" cy="45719"/>
            <a:chOff x="1869132" y="1629258"/>
            <a:chExt cx="196029" cy="45719"/>
          </a:xfrm>
          <a:solidFill>
            <a:schemeClr val="tx2"/>
          </a:solidFill>
        </p:grpSpPr>
        <p:sp>
          <p:nvSpPr>
            <p:cNvPr id="147" name="Ellipse 146">
              <a:extLst>
                <a:ext uri="{FF2B5EF4-FFF2-40B4-BE49-F238E27FC236}">
                  <a16:creationId xmlns:a16="http://schemas.microsoft.com/office/drawing/2014/main" id="{73A93D1D-1468-A13C-5209-FDBE8C18146A}"/>
                </a:ext>
              </a:extLst>
            </p:cNvPr>
            <p:cNvSpPr/>
            <p:nvPr/>
          </p:nvSpPr>
          <p:spPr>
            <a:xfrm>
              <a:off x="1945837" y="162925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901F13F8-70A6-AA97-6A00-A8A229784966}"/>
                </a:ext>
              </a:extLst>
            </p:cNvPr>
            <p:cNvSpPr/>
            <p:nvPr/>
          </p:nvSpPr>
          <p:spPr>
            <a:xfrm>
              <a:off x="2019442" y="162925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50" name="Ellipse 149">
              <a:extLst>
                <a:ext uri="{FF2B5EF4-FFF2-40B4-BE49-F238E27FC236}">
                  <a16:creationId xmlns:a16="http://schemas.microsoft.com/office/drawing/2014/main" id="{3900FFDA-BB8B-250A-5A5B-AF516EA237A1}"/>
                </a:ext>
              </a:extLst>
            </p:cNvPr>
            <p:cNvSpPr/>
            <p:nvPr/>
          </p:nvSpPr>
          <p:spPr>
            <a:xfrm>
              <a:off x="1869132" y="162925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153" name="Ellipse 152">
            <a:extLst>
              <a:ext uri="{FF2B5EF4-FFF2-40B4-BE49-F238E27FC236}">
                <a16:creationId xmlns:a16="http://schemas.microsoft.com/office/drawing/2014/main" id="{F40EB5BF-090C-55EB-5485-9842BF1425E6}"/>
              </a:ext>
            </a:extLst>
          </p:cNvPr>
          <p:cNvSpPr/>
          <p:nvPr/>
        </p:nvSpPr>
        <p:spPr>
          <a:xfrm>
            <a:off x="1292236" y="1970445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54" name="Ellipse 153">
            <a:extLst>
              <a:ext uri="{FF2B5EF4-FFF2-40B4-BE49-F238E27FC236}">
                <a16:creationId xmlns:a16="http://schemas.microsoft.com/office/drawing/2014/main" id="{1A2C103E-4F53-D195-20CE-DFF7E80307A4}"/>
              </a:ext>
            </a:extLst>
          </p:cNvPr>
          <p:cNvSpPr/>
          <p:nvPr/>
        </p:nvSpPr>
        <p:spPr>
          <a:xfrm>
            <a:off x="1292237" y="2029712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55" name="Ellipse 154">
            <a:extLst>
              <a:ext uri="{FF2B5EF4-FFF2-40B4-BE49-F238E27FC236}">
                <a16:creationId xmlns:a16="http://schemas.microsoft.com/office/drawing/2014/main" id="{0FCDF5D6-3005-B8CB-89DB-6410109576BA}"/>
              </a:ext>
            </a:extLst>
          </p:cNvPr>
          <p:cNvSpPr/>
          <p:nvPr/>
        </p:nvSpPr>
        <p:spPr>
          <a:xfrm>
            <a:off x="1450579" y="2036452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grpSp>
        <p:nvGrpSpPr>
          <p:cNvPr id="179" name="Gruppieren 178">
            <a:extLst>
              <a:ext uri="{FF2B5EF4-FFF2-40B4-BE49-F238E27FC236}">
                <a16:creationId xmlns:a16="http://schemas.microsoft.com/office/drawing/2014/main" id="{B55B70D7-8DCA-6042-0982-9CCA8980CCE0}"/>
              </a:ext>
            </a:extLst>
          </p:cNvPr>
          <p:cNvGrpSpPr/>
          <p:nvPr/>
        </p:nvGrpSpPr>
        <p:grpSpPr>
          <a:xfrm>
            <a:off x="1871955" y="1733868"/>
            <a:ext cx="196022" cy="45719"/>
            <a:chOff x="1869503" y="1556511"/>
            <a:chExt cx="196022" cy="45719"/>
          </a:xfrm>
          <a:solidFill>
            <a:schemeClr val="tx2"/>
          </a:solidFill>
        </p:grpSpPr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A690267D-4C4E-1299-8027-491B62B84F98}"/>
                </a:ext>
              </a:extLst>
            </p:cNvPr>
            <p:cNvSpPr/>
            <p:nvPr/>
          </p:nvSpPr>
          <p:spPr>
            <a:xfrm>
              <a:off x="2019806" y="1556511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56" name="Ellipse 155">
              <a:extLst>
                <a:ext uri="{FF2B5EF4-FFF2-40B4-BE49-F238E27FC236}">
                  <a16:creationId xmlns:a16="http://schemas.microsoft.com/office/drawing/2014/main" id="{78AD3D06-116D-EA73-D708-8EF5911D3454}"/>
                </a:ext>
              </a:extLst>
            </p:cNvPr>
            <p:cNvSpPr/>
            <p:nvPr/>
          </p:nvSpPr>
          <p:spPr>
            <a:xfrm>
              <a:off x="1869503" y="1556511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57" name="Ellipse 156">
              <a:extLst>
                <a:ext uri="{FF2B5EF4-FFF2-40B4-BE49-F238E27FC236}">
                  <a16:creationId xmlns:a16="http://schemas.microsoft.com/office/drawing/2014/main" id="{038FA6EB-EE14-82E5-F4A0-7901E3C9F487}"/>
                </a:ext>
              </a:extLst>
            </p:cNvPr>
            <p:cNvSpPr/>
            <p:nvPr/>
          </p:nvSpPr>
          <p:spPr>
            <a:xfrm>
              <a:off x="1945854" y="1556511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158" name="Ellipse 157">
            <a:extLst>
              <a:ext uri="{FF2B5EF4-FFF2-40B4-BE49-F238E27FC236}">
                <a16:creationId xmlns:a16="http://schemas.microsoft.com/office/drawing/2014/main" id="{7F3ABEDE-A868-6639-6BEC-9AEAB2366017}"/>
              </a:ext>
            </a:extLst>
          </p:cNvPr>
          <p:cNvSpPr/>
          <p:nvPr/>
        </p:nvSpPr>
        <p:spPr>
          <a:xfrm>
            <a:off x="2020173" y="1659842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62" name="Ellipse 161">
            <a:extLst>
              <a:ext uri="{FF2B5EF4-FFF2-40B4-BE49-F238E27FC236}">
                <a16:creationId xmlns:a16="http://schemas.microsoft.com/office/drawing/2014/main" id="{5D0EB20F-66FF-DEED-EB9B-FA8BE3B94EEC}"/>
              </a:ext>
            </a:extLst>
          </p:cNvPr>
          <p:cNvSpPr/>
          <p:nvPr/>
        </p:nvSpPr>
        <p:spPr>
          <a:xfrm>
            <a:off x="2498250" y="2031086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63" name="Ellipse 162">
            <a:extLst>
              <a:ext uri="{FF2B5EF4-FFF2-40B4-BE49-F238E27FC236}">
                <a16:creationId xmlns:a16="http://schemas.microsoft.com/office/drawing/2014/main" id="{E07AEE9D-2A2C-525B-37B5-A38B4AC4E28E}"/>
              </a:ext>
            </a:extLst>
          </p:cNvPr>
          <p:cNvSpPr/>
          <p:nvPr/>
        </p:nvSpPr>
        <p:spPr>
          <a:xfrm>
            <a:off x="3292576" y="2028454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64" name="Ellipse 163">
            <a:extLst>
              <a:ext uri="{FF2B5EF4-FFF2-40B4-BE49-F238E27FC236}">
                <a16:creationId xmlns:a16="http://schemas.microsoft.com/office/drawing/2014/main" id="{1CB02470-A413-89CE-C8D8-2178D702FE3C}"/>
              </a:ext>
            </a:extLst>
          </p:cNvPr>
          <p:cNvSpPr/>
          <p:nvPr/>
        </p:nvSpPr>
        <p:spPr>
          <a:xfrm>
            <a:off x="2802336" y="2031798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9458C741-7BE9-A194-EE3E-49E28FD97878}"/>
              </a:ext>
            </a:extLst>
          </p:cNvPr>
          <p:cNvGrpSpPr/>
          <p:nvPr/>
        </p:nvGrpSpPr>
        <p:grpSpPr>
          <a:xfrm>
            <a:off x="1874675" y="1878105"/>
            <a:ext cx="190921" cy="45719"/>
            <a:chOff x="1869133" y="1700748"/>
            <a:chExt cx="190921" cy="45719"/>
          </a:xfrm>
          <a:solidFill>
            <a:schemeClr val="tx2"/>
          </a:solidFill>
        </p:grpSpPr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31724846-5087-C38C-70EC-840B1001D5AF}"/>
                </a:ext>
              </a:extLst>
            </p:cNvPr>
            <p:cNvSpPr/>
            <p:nvPr/>
          </p:nvSpPr>
          <p:spPr>
            <a:xfrm>
              <a:off x="2014335" y="170074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60" name="Ellipse 159">
              <a:extLst>
                <a:ext uri="{FF2B5EF4-FFF2-40B4-BE49-F238E27FC236}">
                  <a16:creationId xmlns:a16="http://schemas.microsoft.com/office/drawing/2014/main" id="{2F63E45B-C4CE-1422-10F5-2CB3D1446AD2}"/>
                </a:ext>
              </a:extLst>
            </p:cNvPr>
            <p:cNvSpPr/>
            <p:nvPr/>
          </p:nvSpPr>
          <p:spPr>
            <a:xfrm>
              <a:off x="1869133" y="170074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65" name="Ellipse 164">
              <a:extLst>
                <a:ext uri="{FF2B5EF4-FFF2-40B4-BE49-F238E27FC236}">
                  <a16:creationId xmlns:a16="http://schemas.microsoft.com/office/drawing/2014/main" id="{A7276733-61E2-D503-7434-3ED96F069B22}"/>
                </a:ext>
              </a:extLst>
            </p:cNvPr>
            <p:cNvSpPr/>
            <p:nvPr/>
          </p:nvSpPr>
          <p:spPr>
            <a:xfrm>
              <a:off x="1949134" y="170074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167" name="Ellipse 166">
            <a:extLst>
              <a:ext uri="{FF2B5EF4-FFF2-40B4-BE49-F238E27FC236}">
                <a16:creationId xmlns:a16="http://schemas.microsoft.com/office/drawing/2014/main" id="{BBEDF899-A854-F6B0-6C45-A772E08CE80A}"/>
              </a:ext>
            </a:extLst>
          </p:cNvPr>
          <p:cNvSpPr/>
          <p:nvPr/>
        </p:nvSpPr>
        <p:spPr>
          <a:xfrm>
            <a:off x="2571605" y="1968785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grpSp>
        <p:nvGrpSpPr>
          <p:cNvPr id="176" name="Gruppieren 175">
            <a:extLst>
              <a:ext uri="{FF2B5EF4-FFF2-40B4-BE49-F238E27FC236}">
                <a16:creationId xmlns:a16="http://schemas.microsoft.com/office/drawing/2014/main" id="{20402175-116B-15DC-D254-BB405307A762}"/>
              </a:ext>
            </a:extLst>
          </p:cNvPr>
          <p:cNvGrpSpPr/>
          <p:nvPr/>
        </p:nvGrpSpPr>
        <p:grpSpPr>
          <a:xfrm>
            <a:off x="1873504" y="1951935"/>
            <a:ext cx="192092" cy="45719"/>
            <a:chOff x="1873731" y="1774578"/>
            <a:chExt cx="192092" cy="45719"/>
          </a:xfrm>
          <a:solidFill>
            <a:schemeClr val="tx2"/>
          </a:solidFill>
        </p:grpSpPr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65E2A726-FC62-C8B0-2616-26D5C3AB0860}"/>
                </a:ext>
              </a:extLst>
            </p:cNvPr>
            <p:cNvSpPr/>
            <p:nvPr/>
          </p:nvSpPr>
          <p:spPr>
            <a:xfrm>
              <a:off x="1956808" y="177457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5F36E7D0-227F-72CA-2D64-84D82F4A0FD0}"/>
                </a:ext>
              </a:extLst>
            </p:cNvPr>
            <p:cNvSpPr/>
            <p:nvPr/>
          </p:nvSpPr>
          <p:spPr>
            <a:xfrm>
              <a:off x="2020104" y="177457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7F08C0DA-D497-81D5-3E34-1AA378066D5F}"/>
                </a:ext>
              </a:extLst>
            </p:cNvPr>
            <p:cNvSpPr/>
            <p:nvPr/>
          </p:nvSpPr>
          <p:spPr>
            <a:xfrm>
              <a:off x="1873731" y="177457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169" name="Ellipse 168">
            <a:extLst>
              <a:ext uri="{FF2B5EF4-FFF2-40B4-BE49-F238E27FC236}">
                <a16:creationId xmlns:a16="http://schemas.microsoft.com/office/drawing/2014/main" id="{36193594-E3CF-8717-9364-420381F2337D}"/>
              </a:ext>
            </a:extLst>
          </p:cNvPr>
          <p:cNvSpPr/>
          <p:nvPr/>
        </p:nvSpPr>
        <p:spPr>
          <a:xfrm>
            <a:off x="2571605" y="2031087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grpSp>
        <p:nvGrpSpPr>
          <p:cNvPr id="175" name="Gruppieren 174">
            <a:extLst>
              <a:ext uri="{FF2B5EF4-FFF2-40B4-BE49-F238E27FC236}">
                <a16:creationId xmlns:a16="http://schemas.microsoft.com/office/drawing/2014/main" id="{D2D76409-7FDD-A9CC-F116-8AC1ECEBF0EA}"/>
              </a:ext>
            </a:extLst>
          </p:cNvPr>
          <p:cNvGrpSpPr/>
          <p:nvPr/>
        </p:nvGrpSpPr>
        <p:grpSpPr>
          <a:xfrm>
            <a:off x="1876650" y="2032509"/>
            <a:ext cx="188946" cy="45719"/>
            <a:chOff x="1876579" y="1855152"/>
            <a:chExt cx="188946" cy="45719"/>
          </a:xfrm>
          <a:solidFill>
            <a:schemeClr val="tx2"/>
          </a:solidFill>
        </p:grpSpPr>
        <p:sp>
          <p:nvSpPr>
            <p:cNvPr id="161" name="Ellipse 160">
              <a:extLst>
                <a:ext uri="{FF2B5EF4-FFF2-40B4-BE49-F238E27FC236}">
                  <a16:creationId xmlns:a16="http://schemas.microsoft.com/office/drawing/2014/main" id="{43996F13-3D37-8531-18DA-D56515C49041}"/>
                </a:ext>
              </a:extLst>
            </p:cNvPr>
            <p:cNvSpPr/>
            <p:nvPr/>
          </p:nvSpPr>
          <p:spPr>
            <a:xfrm>
              <a:off x="2019806" y="1855152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973C943A-25C8-4280-20D8-9CA3A4EB49BB}"/>
                </a:ext>
              </a:extLst>
            </p:cNvPr>
            <p:cNvSpPr/>
            <p:nvPr/>
          </p:nvSpPr>
          <p:spPr>
            <a:xfrm>
              <a:off x="1949134" y="1855152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id="{BFD1102F-058D-2B95-0C0B-6F95F745CBFA}"/>
                </a:ext>
              </a:extLst>
            </p:cNvPr>
            <p:cNvSpPr/>
            <p:nvPr/>
          </p:nvSpPr>
          <p:spPr>
            <a:xfrm>
              <a:off x="1876579" y="1855152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171" name="Ellipse 170">
            <a:extLst>
              <a:ext uri="{FF2B5EF4-FFF2-40B4-BE49-F238E27FC236}">
                <a16:creationId xmlns:a16="http://schemas.microsoft.com/office/drawing/2014/main" id="{C6FAE51E-E36E-849D-C4DA-0E797210F662}"/>
              </a:ext>
            </a:extLst>
          </p:cNvPr>
          <p:cNvSpPr/>
          <p:nvPr/>
        </p:nvSpPr>
        <p:spPr>
          <a:xfrm>
            <a:off x="2721968" y="2035697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2" name="Ellipse 171">
            <a:extLst>
              <a:ext uri="{FF2B5EF4-FFF2-40B4-BE49-F238E27FC236}">
                <a16:creationId xmlns:a16="http://schemas.microsoft.com/office/drawing/2014/main" id="{BBED565E-3641-4797-9669-4D3AEEBF79D8}"/>
              </a:ext>
            </a:extLst>
          </p:cNvPr>
          <p:cNvSpPr/>
          <p:nvPr/>
        </p:nvSpPr>
        <p:spPr>
          <a:xfrm>
            <a:off x="1547310" y="2034969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3" name="Ellipse 172">
            <a:extLst>
              <a:ext uri="{FF2B5EF4-FFF2-40B4-BE49-F238E27FC236}">
                <a16:creationId xmlns:a16="http://schemas.microsoft.com/office/drawing/2014/main" id="{9DC2E266-0C4F-69F8-E84A-D426832E7EAE}"/>
              </a:ext>
            </a:extLst>
          </p:cNvPr>
          <p:cNvSpPr/>
          <p:nvPr/>
        </p:nvSpPr>
        <p:spPr>
          <a:xfrm>
            <a:off x="2883029" y="2031798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4" name="Ellipse 173">
            <a:extLst>
              <a:ext uri="{FF2B5EF4-FFF2-40B4-BE49-F238E27FC236}">
                <a16:creationId xmlns:a16="http://schemas.microsoft.com/office/drawing/2014/main" id="{2E1A9DEF-CC21-49D3-EB36-1F3A8EDD5955}"/>
              </a:ext>
            </a:extLst>
          </p:cNvPr>
          <p:cNvSpPr/>
          <p:nvPr/>
        </p:nvSpPr>
        <p:spPr>
          <a:xfrm>
            <a:off x="2647452" y="2032317"/>
            <a:ext cx="45719" cy="457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B33C56E-6AF5-52EA-1051-87C5DC0A4B4C}"/>
              </a:ext>
            </a:extLst>
          </p:cNvPr>
          <p:cNvSpPr txBox="1"/>
          <p:nvPr/>
        </p:nvSpPr>
        <p:spPr>
          <a:xfrm>
            <a:off x="2278198" y="1550023"/>
            <a:ext cx="11283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800"/>
              <a:t>5x Retrofit Maschinen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1EBA408-6114-302B-9D42-90210B7CCB53}"/>
              </a:ext>
            </a:extLst>
          </p:cNvPr>
          <p:cNvCxnSpPr>
            <a:cxnSpLocks/>
          </p:cNvCxnSpPr>
          <p:nvPr/>
        </p:nvCxnSpPr>
        <p:spPr>
          <a:xfrm flipH="1">
            <a:off x="2094745" y="1621056"/>
            <a:ext cx="163648" cy="9398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69C01273-0013-574B-1AD8-621B543BD8F4}"/>
              </a:ext>
            </a:extLst>
          </p:cNvPr>
          <p:cNvSpPr txBox="1"/>
          <p:nvPr/>
        </p:nvSpPr>
        <p:spPr>
          <a:xfrm rot="16200000">
            <a:off x="3183286" y="2191616"/>
            <a:ext cx="110005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/>
              <a:t>*Bezugsgr. h/Jahr</a:t>
            </a:r>
            <a:endParaRPr lang="de-DE" sz="1100" b="1"/>
          </a:p>
        </p:txBody>
      </p:sp>
    </p:spTree>
    <p:extLst>
      <p:ext uri="{BB962C8B-B14F-4D97-AF65-F5344CB8AC3E}">
        <p14:creationId xmlns:p14="http://schemas.microsoft.com/office/powerpoint/2010/main" val="8455372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54BB57C2-5C9C-E0A9-19B1-F0DFCBCAB5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850E277-9A3C-B2F4-4FB5-5B0D8F2F1D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4A09013-9F86-6437-40FD-4FFAB9DDF7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386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32"/>
  <p:tag name="MIO_EKGUID" val="d2fd8906-871d-4fd1-b428-ee99b0e833c8"/>
  <p:tag name="MIO_VERSION" val="06.12.2022 14:00:15"/>
  <p:tag name="MIO_OBJECTNAME" val="NEW 22 TRUMPF - DE | EN"/>
  <p:tag name="MIO_LASTDOWNLOADED" val="21.03.2023 07:55:41.411"/>
  <p:tag name="MIO_CDID" val="d30371fb-bd2b-4816-a0ce-bd6a1479ab6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WBq3acJ3g8yJldsggX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o03wP_gOisO1FdZ8WM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ieMXVA5NDyYuUzdVEP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ieMXVA5NDyYuUzdVEP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ieMXVA5NDyYuUzdVEP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52ED16-9A2A-4B86-857F-8AB98170A7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9C23B40-B3C1-4523-8223-325088CCB50B}">
  <ds:schemaRefs>
    <ds:schemaRef ds:uri="2ee90abe-c8bc-4e61-8e0f-7d6e88f83077"/>
    <ds:schemaRef ds:uri="98a8e544-26c0-414a-a92c-40f1c25371a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A1989B1-45AC-41A1-B09E-9438AB4BD9A0}"/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385</Words>
  <Application>Microsoft Office PowerPoint</Application>
  <PresentationFormat>Breitbild</PresentationFormat>
  <Paragraphs>130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Porsche Next TT</vt:lpstr>
      <vt:lpstr>Segoe UI</vt:lpstr>
      <vt:lpstr>Wingdings</vt:lpstr>
      <vt:lpstr>1_Trumpf PowerPoint 2019</vt:lpstr>
      <vt:lpstr>think-cell Folie</vt:lpstr>
      <vt:lpstr>Zerspanungszentrum TWH</vt:lpstr>
      <vt:lpstr>Entstehungsgeschichte Zerspanungskompetenzzentrum</vt:lpstr>
      <vt:lpstr>5 Jahresplan im Überblick</vt:lpstr>
      <vt:lpstr>Ausblick &amp; Vision</vt:lpstr>
      <vt:lpstr>Zahlen, Daten, Fakten</vt:lpstr>
      <vt:lpstr>Vielen Dan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Tuerk, Oliver</cp:lastModifiedBy>
  <cp:revision>5</cp:revision>
  <cp:lastPrinted>2019-01-11T14:04:50Z</cp:lastPrinted>
  <dcterms:created xsi:type="dcterms:W3CDTF">2019-04-11T08:14:40Z</dcterms:created>
  <dcterms:modified xsi:type="dcterms:W3CDTF">2023-04-20T18:0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